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4" r:id="rId3"/>
  </p:sldMasterIdLst>
  <p:notesMasterIdLst>
    <p:notesMasterId r:id="rId13"/>
  </p:notesMasterIdLst>
  <p:sldIdLst>
    <p:sldId id="2147482728" r:id="rId4"/>
    <p:sldId id="296" r:id="rId5"/>
    <p:sldId id="272" r:id="rId6"/>
    <p:sldId id="273" r:id="rId7"/>
    <p:sldId id="277" r:id="rId8"/>
    <p:sldId id="2147482735" r:id="rId9"/>
    <p:sldId id="280" r:id="rId10"/>
    <p:sldId id="281" r:id="rId11"/>
    <p:sldId id="2147482736"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5" id="{DD8DB40F-E929-4E32-B7AD-075B61BCB512}">
          <p14:sldIdLst>
            <p14:sldId id="2147482728"/>
            <p14:sldId id="296"/>
            <p14:sldId id="272"/>
            <p14:sldId id="273"/>
            <p14:sldId id="277"/>
            <p14:sldId id="2147482735"/>
            <p14:sldId id="280"/>
            <p14:sldId id="281"/>
            <p14:sldId id="2147482736"/>
          </p14:sldIdLst>
        </p14:section>
        <p14:section name="Default Section" id="{B1D1D2F7-D484-4551-90DA-DEBE9CA21CF3}">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9" d="100"/>
          <a:sy n="69" d="100"/>
        </p:scale>
        <p:origin x="424" y="26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01423E-DD5C-40C8-AED4-23CE4DD51589}" type="doc">
      <dgm:prSet loTypeId="urn:microsoft.com/office/officeart/2005/8/layout/process4" loCatId="process" qsTypeId="urn:microsoft.com/office/officeart/2005/8/quickstyle/simple2" qsCatId="simple" csTypeId="urn:microsoft.com/office/officeart/2005/8/colors/accent1_2" csCatId="accent1" phldr="1"/>
      <dgm:spPr/>
      <dgm:t>
        <a:bodyPr/>
        <a:lstStyle/>
        <a:p>
          <a:endParaRPr lang="en-US"/>
        </a:p>
      </dgm:t>
    </dgm:pt>
    <dgm:pt modelId="{EBF3188A-3CCE-45AE-9104-7A51BF7CDDB6}">
      <dgm:prSet/>
      <dgm:spPr/>
      <dgm:t>
        <a:bodyPr/>
        <a:lstStyle/>
        <a:p>
          <a:r>
            <a:rPr lang="en-GB" b="1" i="0" dirty="0"/>
            <a:t>Data access</a:t>
          </a:r>
          <a:r>
            <a:rPr lang="en-GB" b="0" i="0" dirty="0"/>
            <a:t> - quickly provide right access and enforce right use to balance safety and innovation.</a:t>
          </a:r>
          <a:endParaRPr lang="en-US" dirty="0"/>
        </a:p>
      </dgm:t>
    </dgm:pt>
    <dgm:pt modelId="{A4D85A0F-9E89-423C-8500-8E3B4981D245}" type="parTrans" cxnId="{1D2EC4C3-4074-4CD6-8A65-1E43FE335A88}">
      <dgm:prSet/>
      <dgm:spPr/>
      <dgm:t>
        <a:bodyPr/>
        <a:lstStyle/>
        <a:p>
          <a:endParaRPr lang="en-US"/>
        </a:p>
      </dgm:t>
    </dgm:pt>
    <dgm:pt modelId="{5262C11D-216E-4D27-AFDC-698E6CD617EE}" type="sibTrans" cxnId="{1D2EC4C3-4074-4CD6-8A65-1E43FE335A88}">
      <dgm:prSet/>
      <dgm:spPr/>
      <dgm:t>
        <a:bodyPr/>
        <a:lstStyle/>
        <a:p>
          <a:endParaRPr lang="en-US"/>
        </a:p>
      </dgm:t>
    </dgm:pt>
    <dgm:pt modelId="{2C35A74B-AAFE-4C14-ABA6-2566E1BAC99D}">
      <dgm:prSet/>
      <dgm:spPr/>
      <dgm:t>
        <a:bodyPr/>
        <a:lstStyle/>
        <a:p>
          <a:r>
            <a:rPr lang="en-GB" b="1" i="0"/>
            <a:t>Data curation</a:t>
          </a:r>
          <a:r>
            <a:rPr lang="en-GB" b="0" i="0"/>
            <a:t> - organizing, annotating, and publishing your data so that it's safely accessible, reuseable, and protected.</a:t>
          </a:r>
          <a:endParaRPr lang="en-US" dirty="0"/>
        </a:p>
      </dgm:t>
    </dgm:pt>
    <dgm:pt modelId="{FCFE8174-D260-45BF-A185-E0D427024430}" type="parTrans" cxnId="{CE6527B8-0D2C-491D-A304-9056B23BD56C}">
      <dgm:prSet/>
      <dgm:spPr/>
      <dgm:t>
        <a:bodyPr/>
        <a:lstStyle/>
        <a:p>
          <a:endParaRPr lang="en-US"/>
        </a:p>
      </dgm:t>
    </dgm:pt>
    <dgm:pt modelId="{A2B03EF1-3BDE-4CBB-9266-360F92E3F7FA}" type="sibTrans" cxnId="{CE6527B8-0D2C-491D-A304-9056B23BD56C}">
      <dgm:prSet/>
      <dgm:spPr/>
      <dgm:t>
        <a:bodyPr/>
        <a:lstStyle/>
        <a:p>
          <a:endParaRPr lang="en-US"/>
        </a:p>
      </dgm:t>
    </dgm:pt>
    <dgm:pt modelId="{DDF29FAD-986F-42E9-B35B-FC141BD86D80}">
      <dgm:prSet/>
      <dgm:spPr/>
      <dgm:t>
        <a:bodyPr/>
        <a:lstStyle/>
        <a:p>
          <a:r>
            <a:rPr lang="en-GB" b="1" i="0"/>
            <a:t>Data discovery</a:t>
          </a:r>
          <a:r>
            <a:rPr lang="en-GB" b="0" i="0"/>
            <a:t> - users can find the data they need for day-to-day business and innovation.</a:t>
          </a:r>
          <a:endParaRPr lang="en-US" dirty="0"/>
        </a:p>
      </dgm:t>
    </dgm:pt>
    <dgm:pt modelId="{B2663339-6E77-46D0-B5FD-56F1568B6AA7}" type="parTrans" cxnId="{57BF63E6-1049-4A23-8E30-901C5106ABC8}">
      <dgm:prSet/>
      <dgm:spPr/>
      <dgm:t>
        <a:bodyPr/>
        <a:lstStyle/>
        <a:p>
          <a:endParaRPr lang="en-US"/>
        </a:p>
      </dgm:t>
    </dgm:pt>
    <dgm:pt modelId="{E92D048B-2B5E-4AC3-888D-8C34459D0E50}" type="sibTrans" cxnId="{57BF63E6-1049-4A23-8E30-901C5106ABC8}">
      <dgm:prSet/>
      <dgm:spPr/>
      <dgm:t>
        <a:bodyPr/>
        <a:lstStyle/>
        <a:p>
          <a:endParaRPr lang="en-US"/>
        </a:p>
      </dgm:t>
    </dgm:pt>
    <dgm:pt modelId="{5E187677-E26D-42BC-B988-E0C3111A2E1F}">
      <dgm:prSet/>
      <dgm:spPr/>
      <dgm:t>
        <a:bodyPr/>
        <a:lstStyle/>
        <a:p>
          <a:r>
            <a:rPr lang="en-GB" b="1" i="0" dirty="0"/>
            <a:t>Data health</a:t>
          </a:r>
          <a:r>
            <a:rPr lang="en-GB" b="0" i="0" dirty="0"/>
            <a:t> - data quality standards are maintained across your estate, and there's an active data lifecycle keeping your data fresh and secure.</a:t>
          </a:r>
          <a:endParaRPr lang="en-US" dirty="0"/>
        </a:p>
      </dgm:t>
    </dgm:pt>
    <dgm:pt modelId="{AC392AF2-0679-4EA9-A094-14552B1CD123}" type="parTrans" cxnId="{3546B785-1C04-4D26-A009-0522B60A173E}">
      <dgm:prSet/>
      <dgm:spPr/>
      <dgm:t>
        <a:bodyPr/>
        <a:lstStyle/>
        <a:p>
          <a:endParaRPr lang="en-US"/>
        </a:p>
      </dgm:t>
    </dgm:pt>
    <dgm:pt modelId="{4B1CA955-6B99-43EE-837C-4CE354AC3B28}" type="sibTrans" cxnId="{3546B785-1C04-4D26-A009-0522B60A173E}">
      <dgm:prSet/>
      <dgm:spPr/>
      <dgm:t>
        <a:bodyPr/>
        <a:lstStyle/>
        <a:p>
          <a:endParaRPr lang="en-US"/>
        </a:p>
      </dgm:t>
    </dgm:pt>
    <dgm:pt modelId="{EAC5266D-6431-4B2C-AA3B-2F6FA26406D8}">
      <dgm:prSet/>
      <dgm:spPr/>
      <dgm:t>
        <a:bodyPr/>
        <a:lstStyle/>
        <a:p>
          <a:pPr>
            <a:buNone/>
          </a:pPr>
          <a:r>
            <a:rPr lang="en-GB" b="1" i="0" dirty="0"/>
            <a:t>Data understanding</a:t>
          </a:r>
          <a:r>
            <a:rPr lang="en-GB" b="0" i="0" dirty="0"/>
            <a:t> - data has quality descriptors that help users understand what the data is and how it should be used.</a:t>
          </a:r>
          <a:endParaRPr lang="en-US" dirty="0"/>
        </a:p>
      </dgm:t>
    </dgm:pt>
    <dgm:pt modelId="{0A085041-CA07-4A6E-A4A5-8A81F868BB0C}" type="parTrans" cxnId="{D5B16632-02D6-4930-9880-E608E745EBEC}">
      <dgm:prSet/>
      <dgm:spPr/>
    </dgm:pt>
    <dgm:pt modelId="{6FE70076-401A-4828-8E13-85D4A1517408}" type="sibTrans" cxnId="{D5B16632-02D6-4930-9880-E608E745EBEC}">
      <dgm:prSet/>
      <dgm:spPr/>
    </dgm:pt>
    <dgm:pt modelId="{A1D5D629-8339-4383-8939-1B426F9A084C}" type="pres">
      <dgm:prSet presAssocID="{3401423E-DD5C-40C8-AED4-23CE4DD51589}" presName="Name0" presStyleCnt="0">
        <dgm:presLayoutVars>
          <dgm:dir/>
          <dgm:animLvl val="lvl"/>
          <dgm:resizeHandles val="exact"/>
        </dgm:presLayoutVars>
      </dgm:prSet>
      <dgm:spPr/>
    </dgm:pt>
    <dgm:pt modelId="{287B90C7-D69D-4AD8-9983-711EF23C3D65}" type="pres">
      <dgm:prSet presAssocID="{EAC5266D-6431-4B2C-AA3B-2F6FA26406D8}" presName="boxAndChildren" presStyleCnt="0"/>
      <dgm:spPr/>
    </dgm:pt>
    <dgm:pt modelId="{1B2055C4-D9EF-4FE9-B954-39D1367656AA}" type="pres">
      <dgm:prSet presAssocID="{EAC5266D-6431-4B2C-AA3B-2F6FA26406D8}" presName="parentTextBox" presStyleLbl="node1" presStyleIdx="0" presStyleCnt="5"/>
      <dgm:spPr/>
    </dgm:pt>
    <dgm:pt modelId="{00772904-B863-4A50-9C4C-4B03610040F0}" type="pres">
      <dgm:prSet presAssocID="{4B1CA955-6B99-43EE-837C-4CE354AC3B28}" presName="sp" presStyleCnt="0"/>
      <dgm:spPr/>
    </dgm:pt>
    <dgm:pt modelId="{54C0E17D-1D2D-443E-A482-9978123E45DB}" type="pres">
      <dgm:prSet presAssocID="{5E187677-E26D-42BC-B988-E0C3111A2E1F}" presName="arrowAndChildren" presStyleCnt="0"/>
      <dgm:spPr/>
    </dgm:pt>
    <dgm:pt modelId="{38C8CFFE-1010-423E-A00C-C0194D06325C}" type="pres">
      <dgm:prSet presAssocID="{5E187677-E26D-42BC-B988-E0C3111A2E1F}" presName="parentTextArrow" presStyleLbl="node1" presStyleIdx="1" presStyleCnt="5"/>
      <dgm:spPr/>
    </dgm:pt>
    <dgm:pt modelId="{CB9C7480-4B60-45B5-9EA1-0035675EFA0F}" type="pres">
      <dgm:prSet presAssocID="{E92D048B-2B5E-4AC3-888D-8C34459D0E50}" presName="sp" presStyleCnt="0"/>
      <dgm:spPr/>
    </dgm:pt>
    <dgm:pt modelId="{51746126-0F68-4ECE-9C2D-EB70EDF147AF}" type="pres">
      <dgm:prSet presAssocID="{DDF29FAD-986F-42E9-B35B-FC141BD86D80}" presName="arrowAndChildren" presStyleCnt="0"/>
      <dgm:spPr/>
    </dgm:pt>
    <dgm:pt modelId="{C939FCDA-73A7-4A39-AC71-073ABF7A1E85}" type="pres">
      <dgm:prSet presAssocID="{DDF29FAD-986F-42E9-B35B-FC141BD86D80}" presName="parentTextArrow" presStyleLbl="node1" presStyleIdx="2" presStyleCnt="5"/>
      <dgm:spPr/>
    </dgm:pt>
    <dgm:pt modelId="{9219978F-90A9-49F9-9963-E802E4182CC3}" type="pres">
      <dgm:prSet presAssocID="{A2B03EF1-3BDE-4CBB-9266-360F92E3F7FA}" presName="sp" presStyleCnt="0"/>
      <dgm:spPr/>
    </dgm:pt>
    <dgm:pt modelId="{1557B90C-31DE-45B8-8AC1-06FA2A18FB11}" type="pres">
      <dgm:prSet presAssocID="{2C35A74B-AAFE-4C14-ABA6-2566E1BAC99D}" presName="arrowAndChildren" presStyleCnt="0"/>
      <dgm:spPr/>
    </dgm:pt>
    <dgm:pt modelId="{F348B0F0-CAAA-4580-9927-DD2B49FA4C45}" type="pres">
      <dgm:prSet presAssocID="{2C35A74B-AAFE-4C14-ABA6-2566E1BAC99D}" presName="parentTextArrow" presStyleLbl="node1" presStyleIdx="3" presStyleCnt="5"/>
      <dgm:spPr/>
    </dgm:pt>
    <dgm:pt modelId="{7E527BB7-652C-4536-8AC6-3EFD43F41F29}" type="pres">
      <dgm:prSet presAssocID="{5262C11D-216E-4D27-AFDC-698E6CD617EE}" presName="sp" presStyleCnt="0"/>
      <dgm:spPr/>
    </dgm:pt>
    <dgm:pt modelId="{D6A13918-47E1-4F6F-9979-E5DD6323DBAB}" type="pres">
      <dgm:prSet presAssocID="{EBF3188A-3CCE-45AE-9104-7A51BF7CDDB6}" presName="arrowAndChildren" presStyleCnt="0"/>
      <dgm:spPr/>
    </dgm:pt>
    <dgm:pt modelId="{9EA8A93B-648E-4234-AAEA-20C938CE8E5E}" type="pres">
      <dgm:prSet presAssocID="{EBF3188A-3CCE-45AE-9104-7A51BF7CDDB6}" presName="parentTextArrow" presStyleLbl="node1" presStyleIdx="4" presStyleCnt="5"/>
      <dgm:spPr/>
    </dgm:pt>
  </dgm:ptLst>
  <dgm:cxnLst>
    <dgm:cxn modelId="{250CD630-384C-4D09-98F2-27CD33F4AB86}" type="presOf" srcId="{2C35A74B-AAFE-4C14-ABA6-2566E1BAC99D}" destId="{F348B0F0-CAAA-4580-9927-DD2B49FA4C45}" srcOrd="0" destOrd="0" presId="urn:microsoft.com/office/officeart/2005/8/layout/process4"/>
    <dgm:cxn modelId="{D5B16632-02D6-4930-9880-E608E745EBEC}" srcId="{3401423E-DD5C-40C8-AED4-23CE4DD51589}" destId="{EAC5266D-6431-4B2C-AA3B-2F6FA26406D8}" srcOrd="4" destOrd="0" parTransId="{0A085041-CA07-4A6E-A4A5-8A81F868BB0C}" sibTransId="{6FE70076-401A-4828-8E13-85D4A1517408}"/>
    <dgm:cxn modelId="{F6639443-5A43-4849-869F-FAEA8D06270C}" type="presOf" srcId="{EBF3188A-3CCE-45AE-9104-7A51BF7CDDB6}" destId="{9EA8A93B-648E-4234-AAEA-20C938CE8E5E}" srcOrd="0" destOrd="0" presId="urn:microsoft.com/office/officeart/2005/8/layout/process4"/>
    <dgm:cxn modelId="{3546B785-1C04-4D26-A009-0522B60A173E}" srcId="{3401423E-DD5C-40C8-AED4-23CE4DD51589}" destId="{5E187677-E26D-42BC-B988-E0C3111A2E1F}" srcOrd="3" destOrd="0" parTransId="{AC392AF2-0679-4EA9-A094-14552B1CD123}" sibTransId="{4B1CA955-6B99-43EE-837C-4CE354AC3B28}"/>
    <dgm:cxn modelId="{8E65EC8B-5479-4F08-BF0E-965CC315E485}" type="presOf" srcId="{DDF29FAD-986F-42E9-B35B-FC141BD86D80}" destId="{C939FCDA-73A7-4A39-AC71-073ABF7A1E85}" srcOrd="0" destOrd="0" presId="urn:microsoft.com/office/officeart/2005/8/layout/process4"/>
    <dgm:cxn modelId="{CE6527B8-0D2C-491D-A304-9056B23BD56C}" srcId="{3401423E-DD5C-40C8-AED4-23CE4DD51589}" destId="{2C35A74B-AAFE-4C14-ABA6-2566E1BAC99D}" srcOrd="1" destOrd="0" parTransId="{FCFE8174-D260-45BF-A185-E0D427024430}" sibTransId="{A2B03EF1-3BDE-4CBB-9266-360F92E3F7FA}"/>
    <dgm:cxn modelId="{1D2EC4C3-4074-4CD6-8A65-1E43FE335A88}" srcId="{3401423E-DD5C-40C8-AED4-23CE4DD51589}" destId="{EBF3188A-3CCE-45AE-9104-7A51BF7CDDB6}" srcOrd="0" destOrd="0" parTransId="{A4D85A0F-9E89-423C-8500-8E3B4981D245}" sibTransId="{5262C11D-216E-4D27-AFDC-698E6CD617EE}"/>
    <dgm:cxn modelId="{4E19C1CF-85A1-445A-8FB5-D1082F51F9BC}" type="presOf" srcId="{EAC5266D-6431-4B2C-AA3B-2F6FA26406D8}" destId="{1B2055C4-D9EF-4FE9-B954-39D1367656AA}" srcOrd="0" destOrd="0" presId="urn:microsoft.com/office/officeart/2005/8/layout/process4"/>
    <dgm:cxn modelId="{D7D043DE-7157-460D-B48C-F9E3E69F6D67}" type="presOf" srcId="{5E187677-E26D-42BC-B988-E0C3111A2E1F}" destId="{38C8CFFE-1010-423E-A00C-C0194D06325C}" srcOrd="0" destOrd="0" presId="urn:microsoft.com/office/officeart/2005/8/layout/process4"/>
    <dgm:cxn modelId="{57BF63E6-1049-4A23-8E30-901C5106ABC8}" srcId="{3401423E-DD5C-40C8-AED4-23CE4DD51589}" destId="{DDF29FAD-986F-42E9-B35B-FC141BD86D80}" srcOrd="2" destOrd="0" parTransId="{B2663339-6E77-46D0-B5FD-56F1568B6AA7}" sibTransId="{E92D048B-2B5E-4AC3-888D-8C34459D0E50}"/>
    <dgm:cxn modelId="{F62D5CFB-C2BB-4901-A69F-BA573C5F7AAB}" type="presOf" srcId="{3401423E-DD5C-40C8-AED4-23CE4DD51589}" destId="{A1D5D629-8339-4383-8939-1B426F9A084C}" srcOrd="0" destOrd="0" presId="urn:microsoft.com/office/officeart/2005/8/layout/process4"/>
    <dgm:cxn modelId="{552C637D-9DC5-4DA6-8F9C-BCA6869A31AB}" type="presParOf" srcId="{A1D5D629-8339-4383-8939-1B426F9A084C}" destId="{287B90C7-D69D-4AD8-9983-711EF23C3D65}" srcOrd="0" destOrd="0" presId="urn:microsoft.com/office/officeart/2005/8/layout/process4"/>
    <dgm:cxn modelId="{0D433EEA-5D67-43D1-AF72-4D5CC539178D}" type="presParOf" srcId="{287B90C7-D69D-4AD8-9983-711EF23C3D65}" destId="{1B2055C4-D9EF-4FE9-B954-39D1367656AA}" srcOrd="0" destOrd="0" presId="urn:microsoft.com/office/officeart/2005/8/layout/process4"/>
    <dgm:cxn modelId="{B279C6D2-08CF-4932-8B67-A62B890B5253}" type="presParOf" srcId="{A1D5D629-8339-4383-8939-1B426F9A084C}" destId="{00772904-B863-4A50-9C4C-4B03610040F0}" srcOrd="1" destOrd="0" presId="urn:microsoft.com/office/officeart/2005/8/layout/process4"/>
    <dgm:cxn modelId="{BACEACBA-2D73-4F2A-89A7-E3B6B0B0A778}" type="presParOf" srcId="{A1D5D629-8339-4383-8939-1B426F9A084C}" destId="{54C0E17D-1D2D-443E-A482-9978123E45DB}" srcOrd="2" destOrd="0" presId="urn:microsoft.com/office/officeart/2005/8/layout/process4"/>
    <dgm:cxn modelId="{90164454-00C7-4A96-9949-C9022D1BB378}" type="presParOf" srcId="{54C0E17D-1D2D-443E-A482-9978123E45DB}" destId="{38C8CFFE-1010-423E-A00C-C0194D06325C}" srcOrd="0" destOrd="0" presId="urn:microsoft.com/office/officeart/2005/8/layout/process4"/>
    <dgm:cxn modelId="{C8308A3F-421B-4995-ABF8-E5068FF434B1}" type="presParOf" srcId="{A1D5D629-8339-4383-8939-1B426F9A084C}" destId="{CB9C7480-4B60-45B5-9EA1-0035675EFA0F}" srcOrd="3" destOrd="0" presId="urn:microsoft.com/office/officeart/2005/8/layout/process4"/>
    <dgm:cxn modelId="{87FBD323-7BAE-42BE-899C-98E7E63FDC1F}" type="presParOf" srcId="{A1D5D629-8339-4383-8939-1B426F9A084C}" destId="{51746126-0F68-4ECE-9C2D-EB70EDF147AF}" srcOrd="4" destOrd="0" presId="urn:microsoft.com/office/officeart/2005/8/layout/process4"/>
    <dgm:cxn modelId="{F5479129-6CE0-4A06-8C79-4C27213BB8A1}" type="presParOf" srcId="{51746126-0F68-4ECE-9C2D-EB70EDF147AF}" destId="{C939FCDA-73A7-4A39-AC71-073ABF7A1E85}" srcOrd="0" destOrd="0" presId="urn:microsoft.com/office/officeart/2005/8/layout/process4"/>
    <dgm:cxn modelId="{5228BBCF-185F-4D6C-A388-B9352FC12686}" type="presParOf" srcId="{A1D5D629-8339-4383-8939-1B426F9A084C}" destId="{9219978F-90A9-49F9-9963-E802E4182CC3}" srcOrd="5" destOrd="0" presId="urn:microsoft.com/office/officeart/2005/8/layout/process4"/>
    <dgm:cxn modelId="{7C701F68-22DE-4A55-9215-154B2B92EFC5}" type="presParOf" srcId="{A1D5D629-8339-4383-8939-1B426F9A084C}" destId="{1557B90C-31DE-45B8-8AC1-06FA2A18FB11}" srcOrd="6" destOrd="0" presId="urn:microsoft.com/office/officeart/2005/8/layout/process4"/>
    <dgm:cxn modelId="{7B8BDF52-A237-4DAD-9B86-C2437CAC6BCD}" type="presParOf" srcId="{1557B90C-31DE-45B8-8AC1-06FA2A18FB11}" destId="{F348B0F0-CAAA-4580-9927-DD2B49FA4C45}" srcOrd="0" destOrd="0" presId="urn:microsoft.com/office/officeart/2005/8/layout/process4"/>
    <dgm:cxn modelId="{62A4C8B3-7BF5-459E-865F-F1A8C8B26484}" type="presParOf" srcId="{A1D5D629-8339-4383-8939-1B426F9A084C}" destId="{7E527BB7-652C-4536-8AC6-3EFD43F41F29}" srcOrd="7" destOrd="0" presId="urn:microsoft.com/office/officeart/2005/8/layout/process4"/>
    <dgm:cxn modelId="{854A834B-150A-4689-B0E9-8F399EEB0B7C}" type="presParOf" srcId="{A1D5D629-8339-4383-8939-1B426F9A084C}" destId="{D6A13918-47E1-4F6F-9979-E5DD6323DBAB}" srcOrd="8" destOrd="0" presId="urn:microsoft.com/office/officeart/2005/8/layout/process4"/>
    <dgm:cxn modelId="{B98E3663-BEE7-45C6-9C6E-3C17EE9FF86E}" type="presParOf" srcId="{D6A13918-47E1-4F6F-9979-E5DD6323DBAB}" destId="{9EA8A93B-648E-4234-AAEA-20C938CE8E5E}"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2055C4-D9EF-4FE9-B954-39D1367656AA}">
      <dsp:nvSpPr>
        <dsp:cNvPr id="0" name=""/>
        <dsp:cNvSpPr/>
      </dsp:nvSpPr>
      <dsp:spPr>
        <a:xfrm>
          <a:off x="0" y="3737324"/>
          <a:ext cx="11018520" cy="613139"/>
        </a:xfrm>
        <a:prstGeom prst="rect">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GB" sz="1300" b="1" i="0" kern="1200" dirty="0"/>
            <a:t>Data understanding</a:t>
          </a:r>
          <a:r>
            <a:rPr lang="en-GB" sz="1300" b="0" i="0" kern="1200" dirty="0"/>
            <a:t> - data has quality descriptors that help users understand what the data is and how it should be used.</a:t>
          </a:r>
          <a:endParaRPr lang="en-US" sz="1300" kern="1200" dirty="0"/>
        </a:p>
      </dsp:txBody>
      <dsp:txXfrm>
        <a:off x="0" y="3737324"/>
        <a:ext cx="11018520" cy="613139"/>
      </dsp:txXfrm>
    </dsp:sp>
    <dsp:sp modelId="{38C8CFFE-1010-423E-A00C-C0194D06325C}">
      <dsp:nvSpPr>
        <dsp:cNvPr id="0" name=""/>
        <dsp:cNvSpPr/>
      </dsp:nvSpPr>
      <dsp:spPr>
        <a:xfrm rot="10800000">
          <a:off x="0" y="2803513"/>
          <a:ext cx="11018520" cy="943007"/>
        </a:xfrm>
        <a:prstGeom prst="upArrowCallout">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GB" sz="1300" b="1" i="0" kern="1200" dirty="0"/>
            <a:t>Data health</a:t>
          </a:r>
          <a:r>
            <a:rPr lang="en-GB" sz="1300" b="0" i="0" kern="1200" dirty="0"/>
            <a:t> - data quality standards are maintained across your estate, and there's an active data lifecycle keeping your data fresh and secure.</a:t>
          </a:r>
          <a:endParaRPr lang="en-US" sz="1300" kern="1200" dirty="0"/>
        </a:p>
      </dsp:txBody>
      <dsp:txXfrm rot="10800000">
        <a:off x="0" y="2803513"/>
        <a:ext cx="11018520" cy="612738"/>
      </dsp:txXfrm>
    </dsp:sp>
    <dsp:sp modelId="{C939FCDA-73A7-4A39-AC71-073ABF7A1E85}">
      <dsp:nvSpPr>
        <dsp:cNvPr id="0" name=""/>
        <dsp:cNvSpPr/>
      </dsp:nvSpPr>
      <dsp:spPr>
        <a:xfrm rot="10800000">
          <a:off x="0" y="1869702"/>
          <a:ext cx="11018520" cy="943007"/>
        </a:xfrm>
        <a:prstGeom prst="upArrowCallout">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GB" sz="1300" b="1" i="0" kern="1200"/>
            <a:t>Data discovery</a:t>
          </a:r>
          <a:r>
            <a:rPr lang="en-GB" sz="1300" b="0" i="0" kern="1200"/>
            <a:t> - users can find the data they need for day-to-day business and innovation.</a:t>
          </a:r>
          <a:endParaRPr lang="en-US" sz="1300" kern="1200" dirty="0"/>
        </a:p>
      </dsp:txBody>
      <dsp:txXfrm rot="10800000">
        <a:off x="0" y="1869702"/>
        <a:ext cx="11018520" cy="612738"/>
      </dsp:txXfrm>
    </dsp:sp>
    <dsp:sp modelId="{F348B0F0-CAAA-4580-9927-DD2B49FA4C45}">
      <dsp:nvSpPr>
        <dsp:cNvPr id="0" name=""/>
        <dsp:cNvSpPr/>
      </dsp:nvSpPr>
      <dsp:spPr>
        <a:xfrm rot="10800000">
          <a:off x="0" y="935891"/>
          <a:ext cx="11018520" cy="943007"/>
        </a:xfrm>
        <a:prstGeom prst="upArrowCallout">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GB" sz="1300" b="1" i="0" kern="1200"/>
            <a:t>Data curation</a:t>
          </a:r>
          <a:r>
            <a:rPr lang="en-GB" sz="1300" b="0" i="0" kern="1200"/>
            <a:t> - organizing, annotating, and publishing your data so that it's safely accessible, reuseable, and protected.</a:t>
          </a:r>
          <a:endParaRPr lang="en-US" sz="1300" kern="1200" dirty="0"/>
        </a:p>
      </dsp:txBody>
      <dsp:txXfrm rot="10800000">
        <a:off x="0" y="935891"/>
        <a:ext cx="11018520" cy="612738"/>
      </dsp:txXfrm>
    </dsp:sp>
    <dsp:sp modelId="{9EA8A93B-648E-4234-AAEA-20C938CE8E5E}">
      <dsp:nvSpPr>
        <dsp:cNvPr id="0" name=""/>
        <dsp:cNvSpPr/>
      </dsp:nvSpPr>
      <dsp:spPr>
        <a:xfrm rot="10800000">
          <a:off x="0" y="2080"/>
          <a:ext cx="11018520" cy="943007"/>
        </a:xfrm>
        <a:prstGeom prst="upArrowCallout">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GB" sz="1300" b="1" i="0" kern="1200" dirty="0"/>
            <a:t>Data access</a:t>
          </a:r>
          <a:r>
            <a:rPr lang="en-GB" sz="1300" b="0" i="0" kern="1200" dirty="0"/>
            <a:t> - quickly provide right access and enforce right use to balance safety and innovation.</a:t>
          </a:r>
          <a:endParaRPr lang="en-US" sz="1300" kern="1200" dirty="0"/>
        </a:p>
      </dsp:txBody>
      <dsp:txXfrm rot="10800000">
        <a:off x="0" y="2080"/>
        <a:ext cx="11018520" cy="612738"/>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6C4B37-E4E9-459E-B2D2-E6CB407EB23D}" type="datetimeFigureOut">
              <a:rPr lang="en-GB" smtClean="0"/>
              <a:t>15/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ACCC1D-9BB1-4513-A563-CD79D6D37594}" type="slidenum">
              <a:rPr lang="en-GB" smtClean="0"/>
              <a:t>‹#›</a:t>
            </a:fld>
            <a:endParaRPr lang="en-GB"/>
          </a:p>
        </p:txBody>
      </p:sp>
    </p:spTree>
    <p:extLst>
      <p:ext uri="{BB962C8B-B14F-4D97-AF65-F5344CB8AC3E}">
        <p14:creationId xmlns:p14="http://schemas.microsoft.com/office/powerpoint/2010/main" val="11672512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00166-99B5-9393-D1DD-3636279F3F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EC3C2D-6A9B-1716-15F4-EBB1070F5C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247288-5D7A-F43C-4E45-793EBA5AE81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8DBE06D2-6FF3-7E09-D10D-023108F6BD4A}"/>
              </a:ext>
            </a:extLst>
          </p:cNvPr>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C536A434-F166-BF67-6159-A89353306093}"/>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Aptos" panose="0211000402020202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231F085-6B7E-931E-326B-1E64BD88B5AA}"/>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2025 9:16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4AB63D6C-7105-269D-4222-4D9F0F8BDF30}"/>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373785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6E9A87-B432-C1EE-A119-15F4FBA528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4303E9-0D04-6FFA-44AA-70E57DFF8D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CB6FDC-DD5C-F1C1-EF52-ACA4A3410B80}"/>
              </a:ext>
            </a:extLst>
          </p:cNvPr>
          <p:cNvSpPr>
            <a:spLocks noGrp="1"/>
          </p:cNvSpPr>
          <p:nvPr>
            <p:ph type="body" idx="1"/>
          </p:nvPr>
        </p:nvSpPr>
        <p:spPr/>
        <p:txBody>
          <a:bodyPr/>
          <a:lstStyle/>
          <a:p>
            <a:r>
              <a:rPr lang="en-GB" sz="1200" b="0" i="0" kern="1200" dirty="0">
                <a:solidFill>
                  <a:schemeClr val="tx1"/>
                </a:solidFill>
                <a:effectLst/>
                <a:latin typeface="+mn-lt"/>
                <a:ea typeface="+mn-ea"/>
                <a:cs typeface="+mn-cs"/>
              </a:rPr>
              <a:t>The new Microsoft Purview Unified Catalog experience allows you to explore and understand your data categorized by governance domains, search through AI powered copilot, and subscribe to data products that come equipped with all the data you need and the tools to safely access it. Over the last couple years we invested in a strong platform that has an inventory of all your data assets, their metadata, and their lineage so you can understand the topography of your data estate. Now we're providing better tools to manage it as it grows, and more points to surface that data to your business, to make use of it in the day-to-day.</a:t>
            </a:r>
          </a:p>
          <a:p>
            <a:endParaRPr lang="en-GB" sz="1200" b="0" i="0" kern="1200" dirty="0">
              <a:solidFill>
                <a:schemeClr val="tx1"/>
              </a:solidFill>
              <a:effectLst/>
              <a:latin typeface="+mn-lt"/>
              <a:ea typeface="+mn-ea"/>
              <a:cs typeface="+mn-cs"/>
            </a:endParaRPr>
          </a:p>
          <a:p>
            <a:endParaRPr lang="en-IN" dirty="0"/>
          </a:p>
        </p:txBody>
      </p:sp>
      <p:sp>
        <p:nvSpPr>
          <p:cNvPr id="4" name="Slide Number Placeholder 3">
            <a:extLst>
              <a:ext uri="{FF2B5EF4-FFF2-40B4-BE49-F238E27FC236}">
                <a16:creationId xmlns:a16="http://schemas.microsoft.com/office/drawing/2014/main" id="{BFF6DC17-3D9A-69EA-73A8-DFA875AC2D6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36EF7C-DD56-4BCB-8D3F-2654856B39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58571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99A8D-05FB-4B9D-931E-28450586332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150969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F558561-BE36-42AC-B7DC-7B2DD2B932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5/2025 9:1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5701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934D30-449D-49C6-86FC-13F6006BE1B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29225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934D30-449D-49C6-86FC-13F6006BE1B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783239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Bef>
                <a:spcPts val="1200"/>
              </a:spcBef>
              <a:spcAft>
                <a:spcPts val="1200"/>
              </a:spcAft>
              <a:buFont typeface="Arial" panose="020B0604020202020204" pitchFamily="34" charset="0"/>
              <a:buChar char="•"/>
            </a:pPr>
            <a:r>
              <a:rPr lang="en-GB" b="1" i="0">
                <a:solidFill>
                  <a:srgbClr val="161616"/>
                </a:solidFill>
                <a:effectLst/>
                <a:latin typeface="Segoe UI" panose="020B0502040204020203" pitchFamily="34" charset="0"/>
              </a:rPr>
              <a:t>Functional/line-of-governance domains</a:t>
            </a:r>
            <a:r>
              <a:rPr lang="en-GB" b="0" i="0">
                <a:solidFill>
                  <a:srgbClr val="161616"/>
                </a:solidFill>
                <a:effectLst/>
                <a:latin typeface="Segoe UI" panose="020B0502040204020203" pitchFamily="34" charset="0"/>
              </a:rPr>
              <a:t> (better) - grants flexibility to teams, and aligns with the existing business model. This can be difficult to manage at scale, and might need many sub domains to empower data decision makers. It can also create data use silos, which is the antithesis of the Unified </a:t>
            </a:r>
            <a:r>
              <a:rPr lang="en-GB" b="0" i="0" err="1">
                <a:solidFill>
                  <a:srgbClr val="161616"/>
                </a:solidFill>
                <a:effectLst/>
                <a:latin typeface="Segoe UI" panose="020B0502040204020203" pitchFamily="34" charset="0"/>
              </a:rPr>
              <a:t>Catalog's</a:t>
            </a:r>
            <a:r>
              <a:rPr lang="en-GB" b="0" i="0">
                <a:solidFill>
                  <a:srgbClr val="161616"/>
                </a:solidFill>
                <a:effectLst/>
                <a:latin typeface="Segoe UI" panose="020B0502040204020203" pitchFamily="34" charset="0"/>
              </a:rPr>
              <a:t> governance approach.</a:t>
            </a:r>
          </a:p>
          <a:p>
            <a:pPr algn="l">
              <a:spcBef>
                <a:spcPts val="1200"/>
              </a:spcBef>
              <a:spcAft>
                <a:spcPts val="1200"/>
              </a:spcAft>
              <a:buFont typeface="Arial" panose="020B0604020202020204" pitchFamily="34" charset="0"/>
              <a:buChar char="•"/>
            </a:pPr>
            <a:endParaRPr lang="en-GB" b="0" i="0">
              <a:solidFill>
                <a:srgbClr val="161616"/>
              </a:solidFill>
              <a:effectLst/>
              <a:latin typeface="Segoe UI" panose="020B0502040204020203" pitchFamily="34" charset="0"/>
            </a:endParaRPr>
          </a:p>
          <a:p>
            <a:pPr>
              <a:buNone/>
            </a:pPr>
            <a:r>
              <a:rPr lang="en-GB" b="1"/>
              <a:t>Examples:</a:t>
            </a:r>
            <a:endParaRPr lang="en-GB"/>
          </a:p>
          <a:p>
            <a:pPr>
              <a:buFont typeface="Arial" panose="020B0604020202020204" pitchFamily="34" charset="0"/>
              <a:buChar char="•"/>
            </a:pPr>
            <a:r>
              <a:rPr lang="en-GB"/>
              <a:t>A multinational company like Contoso might have LOBs such as:</a:t>
            </a:r>
          </a:p>
          <a:p>
            <a:pPr marL="742950" lvl="1" indent="-285750">
              <a:buFont typeface="Arial" panose="020B0604020202020204" pitchFamily="34" charset="0"/>
              <a:buChar char="•"/>
            </a:pPr>
            <a:r>
              <a:rPr lang="en-GB" b="1"/>
              <a:t>Retail</a:t>
            </a:r>
            <a:endParaRPr lang="en-GB"/>
          </a:p>
          <a:p>
            <a:pPr marL="742950" lvl="1" indent="-285750">
              <a:buFont typeface="Arial" panose="020B0604020202020204" pitchFamily="34" charset="0"/>
              <a:buChar char="•"/>
            </a:pPr>
            <a:r>
              <a:rPr lang="en-GB" b="1"/>
              <a:t>Manufacturing</a:t>
            </a:r>
            <a:endParaRPr lang="en-GB"/>
          </a:p>
          <a:p>
            <a:pPr marL="742950" lvl="1" indent="-285750">
              <a:buFont typeface="Arial" panose="020B0604020202020204" pitchFamily="34" charset="0"/>
              <a:buChar char="•"/>
            </a:pPr>
            <a:r>
              <a:rPr lang="en-GB" b="1"/>
              <a:t>Financial Services</a:t>
            </a:r>
            <a:endParaRPr lang="en-GB"/>
          </a:p>
          <a:p>
            <a:pPr marL="742950" lvl="1" indent="-285750">
              <a:buFont typeface="Arial" panose="020B0604020202020204" pitchFamily="34" charset="0"/>
              <a:buChar char="•"/>
            </a:pPr>
            <a:r>
              <a:rPr lang="en-GB" b="1"/>
              <a:t>Healthcare</a:t>
            </a:r>
            <a:endParaRPr lang="en-GB"/>
          </a:p>
          <a:p>
            <a:pPr>
              <a:buNone/>
            </a:pPr>
            <a:r>
              <a:rPr lang="en-GB"/>
              <a:t>Each LOB would have its own governance domains, data products, and policies. For example:</a:t>
            </a:r>
          </a:p>
          <a:p>
            <a:pPr>
              <a:buFont typeface="Arial" panose="020B0604020202020204" pitchFamily="34" charset="0"/>
              <a:buChar char="•"/>
            </a:pPr>
            <a:r>
              <a:rPr lang="en-GB" b="1"/>
              <a:t>Retail LOB</a:t>
            </a:r>
            <a:r>
              <a:rPr lang="en-GB"/>
              <a:t> might govern customer sales data, loyalty program analytics, and supply chain metrics.</a:t>
            </a:r>
          </a:p>
          <a:p>
            <a:pPr>
              <a:buFont typeface="Arial" panose="020B0604020202020204" pitchFamily="34" charset="0"/>
              <a:buChar char="•"/>
            </a:pPr>
            <a:r>
              <a:rPr lang="en-GB" b="1"/>
              <a:t>Manufacturing LOB</a:t>
            </a:r>
            <a:r>
              <a:rPr lang="en-GB"/>
              <a:t> might oversee production data, equipment telemetry, and warehouse inventory.</a:t>
            </a:r>
          </a:p>
          <a:p>
            <a:pPr algn="l">
              <a:spcBef>
                <a:spcPts val="1200"/>
              </a:spcBef>
              <a:spcAft>
                <a:spcPts val="1200"/>
              </a:spcAft>
              <a:buFont typeface="Arial" panose="020B0604020202020204" pitchFamily="34" charset="0"/>
              <a:buChar char="•"/>
            </a:pPr>
            <a:endParaRPr lang="en-GB" b="0" i="0">
              <a:solidFill>
                <a:srgbClr val="161616"/>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934D30-449D-49C6-86FC-13F6006BE1B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295548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934D30-449D-49C6-86FC-13F6006BE1B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78896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9.emf"/><Relationship Id="rId5" Type="http://schemas.openxmlformats.org/officeDocument/2006/relationships/image" Target="../media/image8.svg"/><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18.png"/><Relationship Id="rId7" Type="http://schemas.openxmlformats.org/officeDocument/2006/relationships/image" Target="../media/image7.png"/><Relationship Id="rId2" Type="http://schemas.openxmlformats.org/officeDocument/2006/relationships/image" Target="../media/image17.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9.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9.emf"/><Relationship Id="rId5" Type="http://schemas.openxmlformats.org/officeDocument/2006/relationships/image" Target="../media/image8.svg"/><Relationship Id="rId4" Type="http://schemas.openxmlformats.org/officeDocument/2006/relationships/image" Target="../media/image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3.png"/><Relationship Id="rId13" Type="http://schemas.microsoft.com/office/2007/relationships/hdphoto" Target="../media/hdphoto4.wdp"/><Relationship Id="rId3" Type="http://schemas.openxmlformats.org/officeDocument/2006/relationships/image" Target="../media/image21.png"/><Relationship Id="rId7" Type="http://schemas.microsoft.com/office/2007/relationships/hdphoto" Target="../media/hdphoto3.wdp"/><Relationship Id="rId12" Type="http://schemas.openxmlformats.org/officeDocument/2006/relationships/image" Target="../media/image26.pn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image" Target="../media/image23.png"/><Relationship Id="rId11" Type="http://schemas.openxmlformats.org/officeDocument/2006/relationships/image" Target="../media/image25.svg"/><Relationship Id="rId5" Type="http://schemas.microsoft.com/office/2007/relationships/hdphoto" Target="../media/hdphoto2.wdp"/><Relationship Id="rId10" Type="http://schemas.openxmlformats.org/officeDocument/2006/relationships/image" Target="../media/image24.png"/><Relationship Id="rId4" Type="http://schemas.openxmlformats.org/officeDocument/2006/relationships/image" Target="../media/image22.png"/><Relationship Id="rId9" Type="http://schemas.openxmlformats.org/officeDocument/2006/relationships/image" Target="../media/image15.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12FC-213C-7F27-61A4-D09AB0917E8C}"/>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863CB0A4-A39D-AF00-E153-CF8CBB6EAC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6C52229B-FC8E-B626-5F62-4A4D9DB9B625}"/>
              </a:ext>
            </a:extLst>
          </p:cNvPr>
          <p:cNvSpPr>
            <a:spLocks noGrp="1"/>
          </p:cNvSpPr>
          <p:nvPr>
            <p:ph type="dt" sz="half" idx="10"/>
          </p:nvPr>
        </p:nvSpPr>
        <p:spPr/>
        <p:txBody>
          <a:bodyPr/>
          <a:lstStyle/>
          <a:p>
            <a:fld id="{92FB6F75-9719-4CAF-902B-951CCB2FE4BC}" type="datetimeFigureOut">
              <a:rPr lang="en-GB" smtClean="0"/>
              <a:t>15/05/2025</a:t>
            </a:fld>
            <a:endParaRPr lang="en-GB"/>
          </a:p>
        </p:txBody>
      </p:sp>
      <p:sp>
        <p:nvSpPr>
          <p:cNvPr id="5" name="Footer Placeholder 4">
            <a:extLst>
              <a:ext uri="{FF2B5EF4-FFF2-40B4-BE49-F238E27FC236}">
                <a16:creationId xmlns:a16="http://schemas.microsoft.com/office/drawing/2014/main" id="{397C82EA-80AD-810F-959A-4E1D3D96AD8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E52AF69-AA8E-8DFC-911A-3D330C865D0F}"/>
              </a:ext>
            </a:extLst>
          </p:cNvPr>
          <p:cNvSpPr>
            <a:spLocks noGrp="1"/>
          </p:cNvSpPr>
          <p:nvPr>
            <p:ph type="sldNum" sz="quarter" idx="12"/>
          </p:nvPr>
        </p:nvSpPr>
        <p:spPr/>
        <p:txBody>
          <a:bodyPr/>
          <a:lstStyle/>
          <a:p>
            <a:fld id="{F29889FA-A085-4D8D-B485-D4895BB00615}" type="slidenum">
              <a:rPr lang="en-GB" smtClean="0"/>
              <a:t>‹#›</a:t>
            </a:fld>
            <a:endParaRPr lang="en-GB"/>
          </a:p>
        </p:txBody>
      </p:sp>
    </p:spTree>
    <p:extLst>
      <p:ext uri="{BB962C8B-B14F-4D97-AF65-F5344CB8AC3E}">
        <p14:creationId xmlns:p14="http://schemas.microsoft.com/office/powerpoint/2010/main" val="41830976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FB2F5-46C6-73FF-9402-4F5F0D1DC482}"/>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A1D3E9AD-878A-B3A5-DB52-F822B231E9FA}"/>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6431028-0F6F-4181-60F1-D8DC419A7144}"/>
              </a:ext>
            </a:extLst>
          </p:cNvPr>
          <p:cNvSpPr>
            <a:spLocks noGrp="1"/>
          </p:cNvSpPr>
          <p:nvPr>
            <p:ph type="dt" sz="half" idx="10"/>
          </p:nvPr>
        </p:nvSpPr>
        <p:spPr/>
        <p:txBody>
          <a:bodyPr/>
          <a:lstStyle/>
          <a:p>
            <a:fld id="{92FB6F75-9719-4CAF-902B-951CCB2FE4BC}" type="datetimeFigureOut">
              <a:rPr lang="en-GB" smtClean="0"/>
              <a:t>15/05/2025</a:t>
            </a:fld>
            <a:endParaRPr lang="en-GB"/>
          </a:p>
        </p:txBody>
      </p:sp>
      <p:sp>
        <p:nvSpPr>
          <p:cNvPr id="5" name="Footer Placeholder 4">
            <a:extLst>
              <a:ext uri="{FF2B5EF4-FFF2-40B4-BE49-F238E27FC236}">
                <a16:creationId xmlns:a16="http://schemas.microsoft.com/office/drawing/2014/main" id="{6565FAD4-F704-268A-8141-503AA12A8F9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A694E08-9E11-8D4F-143C-BCFA77D83419}"/>
              </a:ext>
            </a:extLst>
          </p:cNvPr>
          <p:cNvSpPr>
            <a:spLocks noGrp="1"/>
          </p:cNvSpPr>
          <p:nvPr>
            <p:ph type="sldNum" sz="quarter" idx="12"/>
          </p:nvPr>
        </p:nvSpPr>
        <p:spPr/>
        <p:txBody>
          <a:bodyPr/>
          <a:lstStyle/>
          <a:p>
            <a:fld id="{F29889FA-A085-4D8D-B485-D4895BB00615}" type="slidenum">
              <a:rPr lang="en-GB" smtClean="0"/>
              <a:t>‹#›</a:t>
            </a:fld>
            <a:endParaRPr lang="en-GB"/>
          </a:p>
        </p:txBody>
      </p:sp>
    </p:spTree>
    <p:extLst>
      <p:ext uri="{BB962C8B-B14F-4D97-AF65-F5344CB8AC3E}">
        <p14:creationId xmlns:p14="http://schemas.microsoft.com/office/powerpoint/2010/main" val="6654243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5E59F86-BEBA-560D-2379-BD7A8C909C35}"/>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CCC04F0D-788F-7E2D-5F93-4EF5C8D2436C}"/>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7AA2FC4-10C8-0EE9-4AD5-87A7E58EBC1F}"/>
              </a:ext>
            </a:extLst>
          </p:cNvPr>
          <p:cNvSpPr>
            <a:spLocks noGrp="1"/>
          </p:cNvSpPr>
          <p:nvPr>
            <p:ph type="dt" sz="half" idx="10"/>
          </p:nvPr>
        </p:nvSpPr>
        <p:spPr/>
        <p:txBody>
          <a:bodyPr/>
          <a:lstStyle/>
          <a:p>
            <a:fld id="{92FB6F75-9719-4CAF-902B-951CCB2FE4BC}" type="datetimeFigureOut">
              <a:rPr lang="en-GB" smtClean="0"/>
              <a:t>15/05/2025</a:t>
            </a:fld>
            <a:endParaRPr lang="en-GB"/>
          </a:p>
        </p:txBody>
      </p:sp>
      <p:sp>
        <p:nvSpPr>
          <p:cNvPr id="5" name="Footer Placeholder 4">
            <a:extLst>
              <a:ext uri="{FF2B5EF4-FFF2-40B4-BE49-F238E27FC236}">
                <a16:creationId xmlns:a16="http://schemas.microsoft.com/office/drawing/2014/main" id="{FF30828F-0719-893A-C6A7-8DEBF63572B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9ADE61A-0B35-7E35-1EC0-E623CDC9E83F}"/>
              </a:ext>
            </a:extLst>
          </p:cNvPr>
          <p:cNvSpPr>
            <a:spLocks noGrp="1"/>
          </p:cNvSpPr>
          <p:nvPr>
            <p:ph type="sldNum" sz="quarter" idx="12"/>
          </p:nvPr>
        </p:nvSpPr>
        <p:spPr/>
        <p:txBody>
          <a:bodyPr/>
          <a:lstStyle/>
          <a:p>
            <a:fld id="{F29889FA-A085-4D8D-B485-D4895BB00615}" type="slidenum">
              <a:rPr lang="en-GB" smtClean="0"/>
              <a:t>‹#›</a:t>
            </a:fld>
            <a:endParaRPr lang="en-GB"/>
          </a:p>
        </p:txBody>
      </p:sp>
    </p:spTree>
    <p:extLst>
      <p:ext uri="{BB962C8B-B14F-4D97-AF65-F5344CB8AC3E}">
        <p14:creationId xmlns:p14="http://schemas.microsoft.com/office/powerpoint/2010/main" val="36511815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b="1" i="0" spc="-50" baseline="0">
                <a:solidFill>
                  <a:schemeClr val="tx1"/>
                </a:solidFill>
                <a:latin typeface="Segoe Sans Display Semibold" pitchFamily="2" charset="0"/>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b="0" i="0" spc="0" baseline="0">
                <a:solidFill>
                  <a:schemeClr val="tx1"/>
                </a:solidFill>
                <a:latin typeface="Segoe Sans Display" pitchFamily="2" charset="0"/>
                <a:cs typeface="Segoe Sans Display" pitchFamily="2"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0877270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9" name="Picture 18" hidden="1">
            <a:extLst>
              <a:ext uri="{FF2B5EF4-FFF2-40B4-BE49-F238E27FC236}">
                <a16:creationId xmlns:a16="http://schemas.microsoft.com/office/drawing/2014/main" id="{8465FA00-B550-B893-E18C-F6A577D61CDA}"/>
              </a:ext>
            </a:extLst>
          </p:cNvPr>
          <p:cNvPicPr>
            <a:picLocks noChangeAspect="1"/>
          </p:cNvPicPr>
          <p:nvPr userDrawn="1"/>
        </p:nvPicPr>
        <p:blipFill>
          <a:blip r:embed="rId3"/>
          <a:stretch>
            <a:fillRect/>
          </a:stretch>
        </p:blipFill>
        <p:spPr>
          <a:xfrm>
            <a:off x="6009741" y="0"/>
            <a:ext cx="6182259" cy="6858000"/>
          </a:xfrm>
          <a:prstGeom prst="rect">
            <a:avLst/>
          </a:prstGeom>
          <a:effectLst>
            <a:outerShdw blurRad="1270000" dist="596900" dir="10800000" algn="r" rotWithShape="0">
              <a:srgbClr val="665895">
                <a:alpha val="25000"/>
              </a:srgbClr>
            </a:outerShdw>
          </a:effectLst>
        </p:spPr>
      </p:pic>
      <p:grpSp>
        <p:nvGrpSpPr>
          <p:cNvPr id="2" name="Group 1">
            <a:extLst>
              <a:ext uri="{FF2B5EF4-FFF2-40B4-BE49-F238E27FC236}">
                <a16:creationId xmlns:a16="http://schemas.microsoft.com/office/drawing/2014/main" id="{BBF7DC75-A079-03F0-3239-7C682AB358CF}"/>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39D429D4-0F55-5054-83BA-1CD241D5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94240" y="9463695"/>
              <a:ext cx="929120" cy="371022"/>
            </a:xfrm>
            <a:prstGeom prst="rect">
              <a:avLst/>
            </a:prstGeom>
          </p:spPr>
        </p:pic>
        <p:pic>
          <p:nvPicPr>
            <p:cNvPr id="4" name="MS logo gray - EMF" descr="Microsoft logo, gray text version">
              <a:extLst>
                <a:ext uri="{FF2B5EF4-FFF2-40B4-BE49-F238E27FC236}">
                  <a16:creationId xmlns:a16="http://schemas.microsoft.com/office/drawing/2014/main" id="{F1D61FA6-D4B8-5BFC-B18D-6079DA6C82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43773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FBF7E0-44A3-490B-D1B7-7BB106A2EC6E}"/>
              </a:ext>
            </a:extLst>
          </p:cNvPr>
          <p:cNvSpPr>
            <a:spLocks noGrp="1"/>
          </p:cNvSpPr>
          <p:nvPr>
            <p:ph type="title"/>
          </p:nvPr>
        </p:nvSpPr>
        <p:spPr/>
        <p:txBody>
          <a:body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04D21A90-3772-532B-E57D-C6F735E3FE4A}"/>
              </a:ext>
            </a:extLst>
          </p:cNvPr>
          <p:cNvSpPr>
            <a:spLocks noGrp="1"/>
          </p:cNvSpPr>
          <p:nvPr>
            <p:ph type="sldNum" sz="quarter" idx="12"/>
          </p:nvPr>
        </p:nvSpPr>
        <p:spPr/>
        <p:txBody>
          <a:bodyPr/>
          <a:lstStyle/>
          <a:p>
            <a:fld id="{233D4A36-D76C-44EA-9FDE-2894947B33B6}" type="slidenum">
              <a:rPr lang="en-GB" smtClean="0"/>
              <a:t>‹#›</a:t>
            </a:fld>
            <a:endParaRPr lang="en-GB"/>
          </a:p>
        </p:txBody>
      </p:sp>
      <p:pic>
        <p:nvPicPr>
          <p:cNvPr id="14" name="Picture 13" descr="A picture containing shape&#10;&#10;Description automatically generated">
            <a:extLst>
              <a:ext uri="{FF2B5EF4-FFF2-40B4-BE49-F238E27FC236}">
                <a16:creationId xmlns:a16="http://schemas.microsoft.com/office/drawing/2014/main" id="{96C65B6B-50B0-8CF7-DC3F-D3B9D04A09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464" t="42565" r="13659" b="30996"/>
          <a:stretch/>
        </p:blipFill>
        <p:spPr>
          <a:xfrm rot="10800000" flipH="1" flipV="1">
            <a:off x="3748672" y="5110096"/>
            <a:ext cx="8443329" cy="1747904"/>
          </a:xfrm>
          <a:prstGeom prst="rect">
            <a:avLst/>
          </a:prstGeom>
        </p:spPr>
      </p:pic>
    </p:spTree>
    <p:extLst>
      <p:ext uri="{BB962C8B-B14F-4D97-AF65-F5344CB8AC3E}">
        <p14:creationId xmlns:p14="http://schemas.microsoft.com/office/powerpoint/2010/main" val="36899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7" name="Picture 16" descr="A blue ball with a white circle&#10;&#10;Description automatically generated">
            <a:extLst>
              <a:ext uri="{FF2B5EF4-FFF2-40B4-BE49-F238E27FC236}">
                <a16:creationId xmlns:a16="http://schemas.microsoft.com/office/drawing/2014/main" id="{09E0E99A-B74E-93C1-1D91-D65994C94E3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10853505" y="500592"/>
            <a:ext cx="733128" cy="746323"/>
          </a:xfrm>
          <a:prstGeom prst="rect">
            <a:avLst/>
          </a:prstGeom>
          <a:effectLst>
            <a:outerShdw blurRad="152400" dist="152400" dir="2700000" algn="tl" rotWithShape="0">
              <a:prstClr val="black">
                <a:alpha val="9000"/>
              </a:prstClr>
            </a:outerShdw>
          </a:effectLst>
        </p:spPr>
      </p:pic>
      <p:pic>
        <p:nvPicPr>
          <p:cNvPr id="18" name="Picture 17" descr="A blue liquid with a black background&#10;&#10;Description automatically generated">
            <a:extLst>
              <a:ext uri="{FF2B5EF4-FFF2-40B4-BE49-F238E27FC236}">
                <a16:creationId xmlns:a16="http://schemas.microsoft.com/office/drawing/2014/main" id="{A9B5F8F6-9A35-6FB8-90EC-AF9ADB948E2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0" y="-1"/>
            <a:ext cx="12192000" cy="6858001"/>
          </a:xfrm>
          <a:prstGeom prst="rect">
            <a:avLst/>
          </a:prstGeom>
          <a:effectLst>
            <a:outerShdw blurRad="749300" dist="342900" algn="l" rotWithShape="0">
              <a:srgbClr val="002060">
                <a:alpha val="40000"/>
              </a:srgbClr>
            </a:outerShdw>
          </a:effectLst>
        </p:spPr>
      </p:pic>
      <p:pic>
        <p:nvPicPr>
          <p:cNvPr id="21" name="Picture 20" descr="A blue circle with a black background&#10;&#10;Description automatically generated">
            <a:extLst>
              <a:ext uri="{FF2B5EF4-FFF2-40B4-BE49-F238E27FC236}">
                <a16:creationId xmlns:a16="http://schemas.microsoft.com/office/drawing/2014/main" id="{41A3D7CD-D007-989A-7FE5-9D5664C4115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56078" y="3645040"/>
            <a:ext cx="1026937" cy="1059799"/>
          </a:xfrm>
          <a:prstGeom prst="rect">
            <a:avLst/>
          </a:prstGeom>
          <a:effectLst>
            <a:outerShdw blurRad="152400" dist="152400" dir="2700000" algn="tl" rotWithShape="0">
              <a:prstClr val="black">
                <a:alpha val="9000"/>
              </a:prstClr>
            </a:outerShdw>
          </a:effectLst>
        </p:spPr>
      </p:pic>
      <p:pic>
        <p:nvPicPr>
          <p:cNvPr id="22" name="Picture 21" descr="A blue ball with black background&#10;&#10;Description automatically generated">
            <a:extLst>
              <a:ext uri="{FF2B5EF4-FFF2-40B4-BE49-F238E27FC236}">
                <a16:creationId xmlns:a16="http://schemas.microsoft.com/office/drawing/2014/main" id="{1A97CED5-F208-BC57-3A68-B7CC50B848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991372" y="4178311"/>
            <a:ext cx="623654" cy="623654"/>
          </a:xfrm>
          <a:prstGeom prst="rect">
            <a:avLst/>
          </a:prstGeom>
          <a:effectLst>
            <a:outerShdw blurRad="152400" dist="152400" dir="2700000" algn="tl" rotWithShape="0">
              <a:prstClr val="black">
                <a:alpha val="9000"/>
              </a:prstClr>
            </a:outerShdw>
          </a:effectLst>
        </p:spPr>
      </p:pic>
      <p:pic>
        <p:nvPicPr>
          <p:cNvPr id="24" name="Picture 23" descr="A blue liquid with a black background&#10;&#10;Description automatically generated">
            <a:extLst>
              <a:ext uri="{FF2B5EF4-FFF2-40B4-BE49-F238E27FC236}">
                <a16:creationId xmlns:a16="http://schemas.microsoft.com/office/drawing/2014/main" id="{5890BF38-A603-15F1-3991-A72D27DC1F04}"/>
              </a:ext>
            </a:extLst>
          </p:cNvPr>
          <p:cNvPicPr>
            <a:picLocks noChangeAspect="1"/>
          </p:cNvPicPr>
          <p:nvPr userDrawn="1"/>
        </p:nvPicPr>
        <p:blipFill>
          <a:blip r:embed="rId4">
            <a:extLst>
              <a:ext uri="{28A0092B-C50C-407E-A947-70E740481C1C}">
                <a14:useLocalDpi xmlns:a14="http://schemas.microsoft.com/office/drawing/2010/main" val="0"/>
              </a:ext>
            </a:extLst>
          </a:blip>
          <a:srcRect l="66352" t="47496" r="14653" b="27129"/>
          <a:stretch>
            <a:fillRect/>
          </a:stretch>
        </p:blipFill>
        <p:spPr>
          <a:xfrm>
            <a:off x="8089679" y="3257246"/>
            <a:ext cx="2315843" cy="1740221"/>
          </a:xfrm>
          <a:custGeom>
            <a:avLst/>
            <a:gdLst>
              <a:gd name="connsiteX0" fmla="*/ 3017480 w 3473765"/>
              <a:gd name="connsiteY0" fmla="*/ 328 h 2610331"/>
              <a:gd name="connsiteX1" fmla="*/ 3457909 w 3473765"/>
              <a:gd name="connsiteY1" fmla="*/ 124282 h 2610331"/>
              <a:gd name="connsiteX2" fmla="*/ 2619709 w 3473765"/>
              <a:gd name="connsiteY2" fmla="*/ 1505407 h 2610331"/>
              <a:gd name="connsiteX3" fmla="*/ 1476709 w 3473765"/>
              <a:gd name="connsiteY3" fmla="*/ 2610307 h 2610331"/>
              <a:gd name="connsiteX4" fmla="*/ 9859 w 3473765"/>
              <a:gd name="connsiteY4" fmla="*/ 1533982 h 2610331"/>
              <a:gd name="connsiteX5" fmla="*/ 886159 w 3473765"/>
              <a:gd name="connsiteY5" fmla="*/ 324307 h 2610331"/>
              <a:gd name="connsiteX6" fmla="*/ 1876759 w 3473765"/>
              <a:gd name="connsiteY6" fmla="*/ 86182 h 2610331"/>
              <a:gd name="connsiteX7" fmla="*/ 3017480 w 3473765"/>
              <a:gd name="connsiteY7" fmla="*/ 328 h 261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3765" h="2610331">
                <a:moveTo>
                  <a:pt x="3017480" y="328"/>
                </a:moveTo>
                <a:cubicBezTo>
                  <a:pt x="3238462" y="3806"/>
                  <a:pt x="3411475" y="35581"/>
                  <a:pt x="3457909" y="124282"/>
                </a:cubicBezTo>
                <a:cubicBezTo>
                  <a:pt x="3581734" y="360819"/>
                  <a:pt x="2949909" y="1091070"/>
                  <a:pt x="2619709" y="1505407"/>
                </a:cubicBezTo>
                <a:cubicBezTo>
                  <a:pt x="2289509" y="1919744"/>
                  <a:pt x="1911684" y="2605545"/>
                  <a:pt x="1476709" y="2610307"/>
                </a:cubicBezTo>
                <a:cubicBezTo>
                  <a:pt x="1041734" y="2615070"/>
                  <a:pt x="108284" y="1914982"/>
                  <a:pt x="9859" y="1533982"/>
                </a:cubicBezTo>
                <a:cubicBezTo>
                  <a:pt x="-88566" y="1152982"/>
                  <a:pt x="575009" y="565607"/>
                  <a:pt x="886159" y="324307"/>
                </a:cubicBezTo>
                <a:cubicBezTo>
                  <a:pt x="1197309" y="83007"/>
                  <a:pt x="1443372" y="116344"/>
                  <a:pt x="1876759" y="86182"/>
                </a:cubicBezTo>
                <a:cubicBezTo>
                  <a:pt x="2147626" y="67331"/>
                  <a:pt x="2649177" y="-5470"/>
                  <a:pt x="3017480" y="328"/>
                </a:cubicBezTo>
                <a:close/>
              </a:path>
            </a:pathLst>
          </a:custGeom>
        </p:spPr>
      </p:pic>
    </p:spTree>
    <p:extLst>
      <p:ext uri="{BB962C8B-B14F-4D97-AF65-F5344CB8AC3E}">
        <p14:creationId xmlns:p14="http://schemas.microsoft.com/office/powerpoint/2010/main" val="3517180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A blue liquid in a black background&#10;&#10;Description automatically generated">
            <a:extLst>
              <a:ext uri="{FF2B5EF4-FFF2-40B4-BE49-F238E27FC236}">
                <a16:creationId xmlns:a16="http://schemas.microsoft.com/office/drawing/2014/main" id="{B24AFF41-E7E2-7FEF-C074-2B1BFFB28B8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7" t="-14179" r="-87" b="9740"/>
          <a:stretch/>
        </p:blipFill>
        <p:spPr>
          <a:xfrm>
            <a:off x="0" y="1277935"/>
            <a:ext cx="12192000" cy="5580065"/>
          </a:xfrm>
          <a:prstGeom prst="rect">
            <a:avLst/>
          </a:prstGeom>
        </p:spPr>
      </p:pic>
      <p:grpSp>
        <p:nvGrpSpPr>
          <p:cNvPr id="4" name="Group 3">
            <a:extLst>
              <a:ext uri="{FF2B5EF4-FFF2-40B4-BE49-F238E27FC236}">
                <a16:creationId xmlns:a16="http://schemas.microsoft.com/office/drawing/2014/main" id="{D6E27DBF-4D66-0812-8656-8E11BC6517A5}"/>
              </a:ext>
            </a:extLst>
          </p:cNvPr>
          <p:cNvGrpSpPr/>
          <p:nvPr userDrawn="1"/>
        </p:nvGrpSpPr>
        <p:grpSpPr>
          <a:xfrm>
            <a:off x="1053663" y="2238071"/>
            <a:ext cx="5518070" cy="2735781"/>
            <a:chOff x="1274102" y="2093144"/>
            <a:chExt cx="14236072" cy="7315952"/>
          </a:xfrm>
        </p:grpSpPr>
        <p:sp useBgFill="1">
          <p:nvSpPr>
            <p:cNvPr id="5" name="Rectangle: Rounded Corners 4">
              <a:extLst>
                <a:ext uri="{FF2B5EF4-FFF2-40B4-BE49-F238E27FC236}">
                  <a16:creationId xmlns:a16="http://schemas.microsoft.com/office/drawing/2014/main" id="{7D2B8CBE-216C-095C-01C9-0F175705571B}"/>
                </a:ext>
              </a:extLst>
            </p:cNvPr>
            <p:cNvSpPr/>
            <p:nvPr/>
          </p:nvSpPr>
          <p:spPr bwMode="auto">
            <a:xfrm>
              <a:off x="1274102" y="2093144"/>
              <a:ext cx="14236072" cy="7315952"/>
            </a:xfrm>
            <a:prstGeom prst="roundRect">
              <a:avLst>
                <a:gd name="adj" fmla="val 2880"/>
              </a:avLst>
            </a:prstGeom>
            <a:ln>
              <a:noFill/>
              <a:headEnd type="none" w="med" len="med"/>
              <a:tailEnd type="none" w="med" len="med"/>
            </a:ln>
            <a:effectLst>
              <a:outerShdw blurRad="1016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Rectangle: Rounded Corners 5">
              <a:extLst>
                <a:ext uri="{FF2B5EF4-FFF2-40B4-BE49-F238E27FC236}">
                  <a16:creationId xmlns:a16="http://schemas.microsoft.com/office/drawing/2014/main" id="{07C29968-1C37-A016-4E5D-FD70563FBBBC}"/>
                </a:ext>
              </a:extLst>
            </p:cNvPr>
            <p:cNvSpPr/>
            <p:nvPr/>
          </p:nvSpPr>
          <p:spPr bwMode="auto">
            <a:xfrm>
              <a:off x="1274102" y="2093144"/>
              <a:ext cx="14236072" cy="7315952"/>
            </a:xfrm>
            <a:prstGeom prst="roundRect">
              <a:avLst>
                <a:gd name="adj" fmla="val 2880"/>
              </a:avLst>
            </a:prstGeom>
            <a:solidFill>
              <a:srgbClr val="FFFFFF">
                <a:alpha val="5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pic>
        <p:nvPicPr>
          <p:cNvPr id="7" name="Picture 6" descr="A blue oval object with a black background&#10;&#10;Description automatically generated">
            <a:extLst>
              <a:ext uri="{FF2B5EF4-FFF2-40B4-BE49-F238E27FC236}">
                <a16:creationId xmlns:a16="http://schemas.microsoft.com/office/drawing/2014/main" id="{90FE050B-1498-49DB-1328-822812D2AFE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40554">
            <a:off x="1142502" y="1886624"/>
            <a:ext cx="863690" cy="690089"/>
          </a:xfrm>
          <a:prstGeom prst="rect">
            <a:avLst/>
          </a:prstGeom>
          <a:effectLst>
            <a:outerShdw blurRad="254000" dist="203200" dir="7200000" algn="tl" rotWithShape="0">
              <a:prstClr val="black">
                <a:alpha val="14000"/>
              </a:prstClr>
            </a:outerShdw>
          </a:effectLst>
        </p:spPr>
      </p:pic>
      <p:sp>
        <p:nvSpPr>
          <p:cNvPr id="8" name="Oval 7">
            <a:extLst>
              <a:ext uri="{FF2B5EF4-FFF2-40B4-BE49-F238E27FC236}">
                <a16:creationId xmlns:a16="http://schemas.microsoft.com/office/drawing/2014/main" id="{3CF55DF8-54BF-F059-D633-C74CB4550D39}"/>
              </a:ext>
            </a:extLst>
          </p:cNvPr>
          <p:cNvSpPr>
            <a:spLocks/>
          </p:cNvSpPr>
          <p:nvPr userDrawn="1"/>
        </p:nvSpPr>
        <p:spPr bwMode="auto">
          <a:xfrm>
            <a:off x="6956685" y="1631856"/>
            <a:ext cx="3947063" cy="3948209"/>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0537AEAF-49E8-EA56-1108-40FBE75D97B8}"/>
              </a:ext>
            </a:extLst>
          </p:cNvPr>
          <p:cNvSpPr/>
          <p:nvPr userDrawn="1"/>
        </p:nvSpPr>
        <p:spPr>
          <a:xfrm>
            <a:off x="7164941" y="1838816"/>
            <a:ext cx="3530552" cy="3534289"/>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pic>
        <p:nvPicPr>
          <p:cNvPr id="11" name="Picture 10" descr="A blue ball with a white circle&#10;&#10;Description automatically generated">
            <a:extLst>
              <a:ext uri="{FF2B5EF4-FFF2-40B4-BE49-F238E27FC236}">
                <a16:creationId xmlns:a16="http://schemas.microsoft.com/office/drawing/2014/main" id="{9C575A28-101F-3775-1083-C2A0FBDBAF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20656" y="4349895"/>
            <a:ext cx="684812" cy="697137"/>
          </a:xfrm>
          <a:prstGeom prst="rect">
            <a:avLst/>
          </a:prstGeom>
          <a:effectLst>
            <a:outerShdw blurRad="152400" dist="152400" dir="2700000" algn="tl" rotWithShape="0">
              <a:prstClr val="black">
                <a:alpha val="9000"/>
              </a:prstClr>
            </a:outerShdw>
          </a:effectLst>
        </p:spPr>
      </p:pic>
      <p:pic>
        <p:nvPicPr>
          <p:cNvPr id="12" name="Picture 11">
            <a:extLst>
              <a:ext uri="{FF2B5EF4-FFF2-40B4-BE49-F238E27FC236}">
                <a16:creationId xmlns:a16="http://schemas.microsoft.com/office/drawing/2014/main" id="{3D063F0D-7EEE-5ABD-2838-2D47B802E8C3}"/>
              </a:ext>
            </a:extLst>
          </p:cNvPr>
          <p:cNvPicPr>
            <a:picLocks noChangeAspect="1"/>
          </p:cNvPicPr>
          <p:nvPr userDrawn="1"/>
        </p:nvPicPr>
        <p:blipFill>
          <a:blip r:embed="rId5">
            <a:alphaModFix amt="24000"/>
            <a:extLst>
              <a:ext uri="{BEBA8EAE-BF5A-486C-A8C5-ECC9F3942E4B}">
                <a14:imgProps xmlns:a14="http://schemas.microsoft.com/office/drawing/2010/main">
                  <a14:imgLayer r:embed="rId6">
                    <a14:imgEffect>
                      <a14:artisticBlur radius="60"/>
                    </a14:imgEffect>
                  </a14:imgLayer>
                </a14:imgProps>
              </a:ext>
            </a:extLst>
          </a:blip>
          <a:stretch>
            <a:fillRect/>
          </a:stretch>
        </p:blipFill>
        <p:spPr>
          <a:xfrm>
            <a:off x="1053002" y="2238306"/>
            <a:ext cx="5519391" cy="2735309"/>
          </a:xfrm>
          <a:prstGeom prst="rect">
            <a:avLst/>
          </a:prstGeom>
        </p:spPr>
      </p:pic>
      <p:sp>
        <p:nvSpPr>
          <p:cNvPr id="20" name="Title 19">
            <a:extLst>
              <a:ext uri="{FF2B5EF4-FFF2-40B4-BE49-F238E27FC236}">
                <a16:creationId xmlns:a16="http://schemas.microsoft.com/office/drawing/2014/main" id="{B581CB8F-F857-D793-20E4-41E22D41DF4F}"/>
              </a:ext>
            </a:extLst>
          </p:cNvPr>
          <p:cNvSpPr>
            <a:spLocks noGrp="1"/>
          </p:cNvSpPr>
          <p:nvPr>
            <p:ph type="title" hasCustomPrompt="1"/>
          </p:nvPr>
        </p:nvSpPr>
        <p:spPr>
          <a:xfrm>
            <a:off x="1402051" y="2535953"/>
            <a:ext cx="4871027" cy="1177569"/>
          </a:xfrm>
        </p:spPr>
        <p:txBody>
          <a:bodyPr anchor="b">
            <a:normAutofit/>
          </a:bodyPr>
          <a:lstStyle>
            <a:lvl1pPr>
              <a:defRPr sz="4000"/>
            </a:lvl1pPr>
          </a:lstStyle>
          <a:p>
            <a:r>
              <a:rPr lang="en-US"/>
              <a:t>Insert speaker name</a:t>
            </a:r>
            <a:endParaRPr lang="en-GB"/>
          </a:p>
        </p:txBody>
      </p:sp>
      <p:grpSp>
        <p:nvGrpSpPr>
          <p:cNvPr id="15" name="Group 14">
            <a:extLst>
              <a:ext uri="{FF2B5EF4-FFF2-40B4-BE49-F238E27FC236}">
                <a16:creationId xmlns:a16="http://schemas.microsoft.com/office/drawing/2014/main" id="{2E11872F-7E65-89B0-3072-6736ABC002BC}"/>
              </a:ext>
            </a:extLst>
          </p:cNvPr>
          <p:cNvGrpSpPr/>
          <p:nvPr userDrawn="1"/>
        </p:nvGrpSpPr>
        <p:grpSpPr>
          <a:xfrm>
            <a:off x="407459" y="353686"/>
            <a:ext cx="1498506" cy="192755"/>
            <a:chOff x="611188" y="9429750"/>
            <a:chExt cx="3412172" cy="438912"/>
          </a:xfrm>
        </p:grpSpPr>
        <p:pic>
          <p:nvPicPr>
            <p:cNvPr id="16" name="Graphic 15">
              <a:extLst>
                <a:ext uri="{FF2B5EF4-FFF2-40B4-BE49-F238E27FC236}">
                  <a16:creationId xmlns:a16="http://schemas.microsoft.com/office/drawing/2014/main" id="{116AC854-5D4B-9B42-BD9A-D37AF6FD1A7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94240" y="9463695"/>
              <a:ext cx="929120" cy="371022"/>
            </a:xfrm>
            <a:prstGeom prst="rect">
              <a:avLst/>
            </a:prstGeom>
          </p:spPr>
        </p:pic>
        <p:pic>
          <p:nvPicPr>
            <p:cNvPr id="17" name="MS logo gray - EMF" descr="Microsoft logo, gray text version">
              <a:extLst>
                <a:ext uri="{FF2B5EF4-FFF2-40B4-BE49-F238E27FC236}">
                  <a16:creationId xmlns:a16="http://schemas.microsoft.com/office/drawing/2014/main" id="{B97551DC-F750-DF81-38FC-7D83B174FF4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
        <p:nvSpPr>
          <p:cNvPr id="19" name="Picture Placeholder 18">
            <a:extLst>
              <a:ext uri="{FF2B5EF4-FFF2-40B4-BE49-F238E27FC236}">
                <a16:creationId xmlns:a16="http://schemas.microsoft.com/office/drawing/2014/main" id="{25A280F4-4B0D-801E-C177-641106F868DF}"/>
              </a:ext>
            </a:extLst>
          </p:cNvPr>
          <p:cNvSpPr>
            <a:spLocks noGrp="1"/>
          </p:cNvSpPr>
          <p:nvPr>
            <p:ph type="pic" sz="quarter" idx="10"/>
          </p:nvPr>
        </p:nvSpPr>
        <p:spPr>
          <a:xfrm>
            <a:off x="7294488" y="1968500"/>
            <a:ext cx="3271457" cy="3274920"/>
          </a:xfrm>
          <a:prstGeom prst="ellipse">
            <a:avLst/>
          </a:prstGeom>
        </p:spPr>
        <p:txBody>
          <a:bodyPr anchor="ctr"/>
          <a:lstStyle>
            <a:lvl1pPr marL="0" indent="0" algn="ctr">
              <a:buNone/>
              <a:defRPr/>
            </a:lvl1pPr>
          </a:lstStyle>
          <a:p>
            <a:r>
              <a:rPr lang="en-US"/>
              <a:t>Click icon to add picture</a:t>
            </a:r>
            <a:endParaRPr lang="en-GB"/>
          </a:p>
        </p:txBody>
      </p:sp>
      <p:sp>
        <p:nvSpPr>
          <p:cNvPr id="10" name="Text Placeholder 9">
            <a:extLst>
              <a:ext uri="{FF2B5EF4-FFF2-40B4-BE49-F238E27FC236}">
                <a16:creationId xmlns:a16="http://schemas.microsoft.com/office/drawing/2014/main" id="{D2904070-BDAC-03D5-B10D-4A8688FEA602}"/>
              </a:ext>
            </a:extLst>
          </p:cNvPr>
          <p:cNvSpPr>
            <a:spLocks noGrp="1"/>
          </p:cNvSpPr>
          <p:nvPr>
            <p:ph type="body" sz="quarter" idx="11" hasCustomPrompt="1"/>
          </p:nvPr>
        </p:nvSpPr>
        <p:spPr>
          <a:xfrm>
            <a:off x="1402051" y="3854450"/>
            <a:ext cx="4905616" cy="894292"/>
          </a:xfrm>
          <a:prstGeom prst="rect">
            <a:avLst/>
          </a:prstGeom>
        </p:spPr>
        <p:txBody>
          <a:bodyPr/>
          <a:lstStyle>
            <a:lvl1pPr marL="0" indent="0">
              <a:buNone/>
              <a:defRPr sz="2933">
                <a:latin typeface="+mj-lt"/>
              </a:defRPr>
            </a:lvl1pPr>
            <a:lvl2pPr>
              <a:defRPr sz="1333"/>
            </a:lvl2pPr>
            <a:lvl3pPr>
              <a:defRPr sz="800"/>
            </a:lvl3pPr>
            <a:lvl4pPr>
              <a:defRPr sz="733"/>
            </a:lvl4pPr>
            <a:lvl5pPr>
              <a:defRPr sz="733"/>
            </a:lvl5pPr>
          </a:lstStyle>
          <a:p>
            <a:pPr lvl="0"/>
            <a:r>
              <a:rPr lang="en-US"/>
              <a:t>Insert speaker title</a:t>
            </a:r>
          </a:p>
        </p:txBody>
      </p:sp>
    </p:spTree>
    <p:extLst>
      <p:ext uri="{BB962C8B-B14F-4D97-AF65-F5344CB8AC3E}">
        <p14:creationId xmlns:p14="http://schemas.microsoft.com/office/powerpoint/2010/main" val="3088012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Slide - Speaker Headshot">
    <p:spTree>
      <p:nvGrpSpPr>
        <p:cNvPr id="1" name=""/>
        <p:cNvGrpSpPr/>
        <p:nvPr/>
      </p:nvGrpSpPr>
      <p:grpSpPr>
        <a:xfrm>
          <a:off x="0" y="0"/>
          <a:ext cx="0" cy="0"/>
          <a:chOff x="0" y="0"/>
          <a:chExt cx="0" cy="0"/>
        </a:xfrm>
      </p:grpSpPr>
      <p:pic>
        <p:nvPicPr>
          <p:cNvPr id="2" name="Picture 1" descr="A blue liquid with a black background&#10;&#10;Description automatically generated">
            <a:extLst>
              <a:ext uri="{FF2B5EF4-FFF2-40B4-BE49-F238E27FC236}">
                <a16:creationId xmlns:a16="http://schemas.microsoft.com/office/drawing/2014/main" id="{C7A3C197-94B5-C6BA-49E4-7DDF88ECCF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382" r="-42135" b="30247"/>
          <a:stretch/>
        </p:blipFill>
        <p:spPr>
          <a:xfrm>
            <a:off x="0" y="0"/>
            <a:ext cx="12192000" cy="6858001"/>
          </a:xfrm>
          <a:prstGeom prst="rect">
            <a:avLst/>
          </a:prstGeom>
          <a:effectLst>
            <a:outerShdw blurRad="749300" dist="342900" algn="l" rotWithShape="0">
              <a:srgbClr val="002060">
                <a:alpha val="40000"/>
              </a:srgbClr>
            </a:outerShdw>
          </a:effectLst>
        </p:spPr>
      </p:pic>
      <p:sp>
        <p:nvSpPr>
          <p:cNvPr id="3" name="Text Placeholder 5">
            <a:extLst>
              <a:ext uri="{FF2B5EF4-FFF2-40B4-BE49-F238E27FC236}">
                <a16:creationId xmlns:a16="http://schemas.microsoft.com/office/drawing/2014/main" id="{CD4271FD-C0F3-CE00-BA34-874169364D59}"/>
              </a:ext>
            </a:extLst>
          </p:cNvPr>
          <p:cNvSpPr>
            <a:spLocks noGrp="1"/>
          </p:cNvSpPr>
          <p:nvPr>
            <p:ph type="body" sz="quarter" idx="10" hasCustomPrompt="1"/>
          </p:nvPr>
        </p:nvSpPr>
        <p:spPr>
          <a:xfrm>
            <a:off x="4221754" y="3224769"/>
            <a:ext cx="7587092" cy="738664"/>
          </a:xfrm>
          <a:prstGeom prst="rect">
            <a:avLst/>
          </a:prstGeom>
          <a:effectLst>
            <a:outerShdw blurRad="660400" sx="102000" sy="102000" algn="ctr" rotWithShape="0">
              <a:schemeClr val="bg1">
                <a:alpha val="18000"/>
              </a:schemeClr>
            </a:outerShdw>
          </a:effectLst>
        </p:spPr>
        <p:txBody>
          <a:bodyPr vert="horz" wrap="square" lIns="0" tIns="0" rIns="0" bIns="0" rtlCol="0" anchor="ctr">
            <a:spAutoFit/>
          </a:bodyPr>
          <a:lstStyle>
            <a:lvl1pPr algn="l">
              <a:defRPr lang="en-US" sz="48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add title</a:t>
            </a:r>
          </a:p>
        </p:txBody>
      </p:sp>
      <p:grpSp>
        <p:nvGrpSpPr>
          <p:cNvPr id="8" name="Group 7">
            <a:extLst>
              <a:ext uri="{FF2B5EF4-FFF2-40B4-BE49-F238E27FC236}">
                <a16:creationId xmlns:a16="http://schemas.microsoft.com/office/drawing/2014/main" id="{AD20D49A-F1DD-23B8-88A4-A1A67C959CFC}"/>
              </a:ext>
            </a:extLst>
          </p:cNvPr>
          <p:cNvGrpSpPr>
            <a:grpSpLocks/>
          </p:cNvGrpSpPr>
          <p:nvPr userDrawn="1"/>
        </p:nvGrpSpPr>
        <p:grpSpPr>
          <a:xfrm>
            <a:off x="1247704" y="2179316"/>
            <a:ext cx="2793200" cy="2829570"/>
            <a:chOff x="10435028" y="2447784"/>
            <a:chExt cx="5920594" cy="5922314"/>
          </a:xfrm>
        </p:grpSpPr>
        <p:sp>
          <p:nvSpPr>
            <p:cNvPr id="6" name="Oval 5">
              <a:extLst>
                <a:ext uri="{FF2B5EF4-FFF2-40B4-BE49-F238E27FC236}">
                  <a16:creationId xmlns:a16="http://schemas.microsoft.com/office/drawing/2014/main" id="{90BFB297-31F7-C783-4492-93FC84CF6ABC}"/>
                </a:ext>
              </a:extLst>
            </p:cNvPr>
            <p:cNvSpPr>
              <a:spLocks/>
            </p:cNvSpPr>
            <p:nvPr userDrawn="1"/>
          </p:nvSpPr>
          <p:spPr bwMode="auto">
            <a:xfrm>
              <a:off x="10435028" y="2447784"/>
              <a:ext cx="5920594" cy="5922314"/>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A20F842-66BB-1634-7672-48337A137E6C}"/>
                </a:ext>
              </a:extLst>
            </p:cNvPr>
            <p:cNvSpPr/>
            <p:nvPr userDrawn="1"/>
          </p:nvSpPr>
          <p:spPr>
            <a:xfrm>
              <a:off x="10747411" y="2758223"/>
              <a:ext cx="5295828" cy="5301434"/>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47" name="Picture Placeholder 7">
            <a:extLst>
              <a:ext uri="{FF2B5EF4-FFF2-40B4-BE49-F238E27FC236}">
                <a16:creationId xmlns:a16="http://schemas.microsoft.com/office/drawing/2014/main" id="{C52F8963-6CF6-DF8A-A881-275CA63CD44B}"/>
              </a:ext>
            </a:extLst>
          </p:cNvPr>
          <p:cNvSpPr>
            <a:spLocks noGrp="1"/>
          </p:cNvSpPr>
          <p:nvPr>
            <p:ph type="pic" sz="quarter" idx="11"/>
          </p:nvPr>
        </p:nvSpPr>
        <p:spPr>
          <a:xfrm>
            <a:off x="1488768" y="2423839"/>
            <a:ext cx="2311072" cy="2340525"/>
          </a:xfrm>
          <a:prstGeom prst="ellipse">
            <a:avLst/>
          </a:prstGeom>
        </p:spPr>
        <p:txBody>
          <a:bodyPr anchor="ctr"/>
          <a:lstStyle>
            <a:lvl1pPr marL="0" indent="0" algn="ctr">
              <a:buNone/>
              <a:defRPr sz="1400">
                <a:solidFill>
                  <a:schemeClr val="tx1"/>
                </a:solidFill>
              </a:defRPr>
            </a:lvl1pPr>
          </a:lstStyle>
          <a:p>
            <a:r>
              <a:rPr lang="en-US"/>
              <a:t>Click icon to add picture</a:t>
            </a:r>
            <a:endParaRPr lang="en-GB"/>
          </a:p>
        </p:txBody>
      </p:sp>
      <p:grpSp>
        <p:nvGrpSpPr>
          <p:cNvPr id="14" name="Group 13">
            <a:extLst>
              <a:ext uri="{FF2B5EF4-FFF2-40B4-BE49-F238E27FC236}">
                <a16:creationId xmlns:a16="http://schemas.microsoft.com/office/drawing/2014/main" id="{A61CD32D-8D27-5FB2-43AC-3886D001F124}"/>
              </a:ext>
            </a:extLst>
          </p:cNvPr>
          <p:cNvGrpSpPr/>
          <p:nvPr userDrawn="1"/>
        </p:nvGrpSpPr>
        <p:grpSpPr>
          <a:xfrm>
            <a:off x="10310340" y="353686"/>
            <a:ext cx="1498506" cy="192755"/>
            <a:chOff x="611188" y="9429750"/>
            <a:chExt cx="3412172" cy="438912"/>
          </a:xfrm>
        </p:grpSpPr>
        <p:pic>
          <p:nvPicPr>
            <p:cNvPr id="15" name="Graphic 14">
              <a:extLst>
                <a:ext uri="{FF2B5EF4-FFF2-40B4-BE49-F238E27FC236}">
                  <a16:creationId xmlns:a16="http://schemas.microsoft.com/office/drawing/2014/main" id="{AF44DBC9-BA0D-CC11-7AAD-32F9B1E765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16" name="MS logo gray - EMF" descr="Microsoft logo, gray text version">
              <a:extLst>
                <a:ext uri="{FF2B5EF4-FFF2-40B4-BE49-F238E27FC236}">
                  <a16:creationId xmlns:a16="http://schemas.microsoft.com/office/drawing/2014/main" id="{23058694-9F11-BD5A-97D3-D5F60950E4D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75411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26">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x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927142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3" name="Text Placeholder 4">
            <a:extLst>
              <a:ext uri="{FF2B5EF4-FFF2-40B4-BE49-F238E27FC236}">
                <a16:creationId xmlns:a16="http://schemas.microsoft.com/office/drawing/2014/main" id="{659D73DB-0987-776C-0E58-79C0612209F5}"/>
              </a:ext>
            </a:extLst>
          </p:cNvPr>
          <p:cNvSpPr>
            <a:spLocks noGrp="1"/>
          </p:cNvSpPr>
          <p:nvPr>
            <p:ph type="body" sz="quarter" idx="10" hasCustomPrompt="1"/>
          </p:nvPr>
        </p:nvSpPr>
        <p:spPr>
          <a:xfrm>
            <a:off x="387352" y="1233488"/>
            <a:ext cx="11420475" cy="4998720"/>
          </a:xfrm>
          <a:prstGeom prst="rect">
            <a:avLst/>
          </a:prstGeom>
        </p:spPr>
        <p:txBody>
          <a:bodyPr/>
          <a:lstStyle>
            <a:lvl1pPr marL="0" indent="0">
              <a:buNone/>
              <a:defRPr sz="2800">
                <a:solidFill>
                  <a:srgbClr val="2A446F"/>
                </a:solidFill>
                <a:latin typeface="+mj-lt"/>
              </a:defRPr>
            </a:lvl1pPr>
            <a:lvl2pPr marL="365778" indent="0">
              <a:buNone/>
              <a:defRPr sz="2000">
                <a:solidFill>
                  <a:srgbClr val="2A446F"/>
                </a:solidFill>
              </a:defRPr>
            </a:lvl2pPr>
            <a:lvl3pPr marL="731557" indent="0">
              <a:buNone/>
              <a:defRPr sz="1400">
                <a:solidFill>
                  <a:srgbClr val="2A446F"/>
                </a:solidFill>
              </a:defRPr>
            </a:lvl3pPr>
            <a:lvl4pPr marL="1059234" indent="0">
              <a:buNone/>
              <a:defRPr>
                <a:solidFill>
                  <a:schemeClr val="bg1"/>
                </a:solidFill>
              </a:defRPr>
            </a:lvl4pPr>
            <a:lvl5pPr>
              <a:defRPr>
                <a:solidFill>
                  <a:schemeClr val="bg1"/>
                </a:solidFill>
              </a:defRPr>
            </a:lvl5pPr>
          </a:lstStyle>
          <a:p>
            <a:pPr lvl="0"/>
            <a:r>
              <a:rPr lang="en-US"/>
              <a:t>Segoe UI </a:t>
            </a:r>
            <a:r>
              <a:rPr lang="en-US" err="1"/>
              <a:t>Semibold</a:t>
            </a:r>
            <a:r>
              <a:rPr lang="en-US"/>
              <a:t>, size 28pt for first level</a:t>
            </a:r>
          </a:p>
          <a:p>
            <a:pPr lvl="1"/>
            <a:r>
              <a:rPr lang="en-US"/>
              <a:t>Segoe UI, size 20pt for second level</a:t>
            </a:r>
          </a:p>
          <a:p>
            <a:pPr lvl="2"/>
            <a:r>
              <a:rPr lang="en-US"/>
              <a:t>Segoe UI, size 14pt for third level</a:t>
            </a:r>
          </a:p>
        </p:txBody>
      </p:sp>
      <p:grpSp>
        <p:nvGrpSpPr>
          <p:cNvPr id="4" name="Group 3">
            <a:extLst>
              <a:ext uri="{FF2B5EF4-FFF2-40B4-BE49-F238E27FC236}">
                <a16:creationId xmlns:a16="http://schemas.microsoft.com/office/drawing/2014/main" id="{B88F3A13-3AB4-BC42-C438-8838D29EC249}"/>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7384432A-17BA-753C-6E73-D7AAD8F16AD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68034984-B051-4E25-1DA1-76839E14C76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85447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919191"/>
          </p15:clr>
        </p15:guide>
        <p15:guide id="15" pos="3081">
          <p15:clr>
            <a:srgbClr val="919191"/>
          </p15:clr>
        </p15:guide>
        <p15:guide id="16" pos="5717">
          <p15:clr>
            <a:srgbClr val="919191"/>
          </p15:clr>
        </p15:guide>
        <p15:guide id="17" pos="5802">
          <p15:clr>
            <a:srgbClr val="919191"/>
          </p15:clr>
        </p15:guide>
        <p15:guide id="18" pos="8438">
          <p15:clr>
            <a:srgbClr val="919191"/>
          </p15:clr>
        </p15:guide>
        <p15:guide id="19" pos="8522">
          <p15:clr>
            <a:srgbClr val="919191"/>
          </p15:clr>
        </p15:guide>
        <p15:guide id="20" orient="horz" pos="1166">
          <p15:clr>
            <a:srgbClr val="919191"/>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2EF5B4F6-A512-8F2B-66B1-357BC6C9CBEF}"/>
              </a:ext>
            </a:extLst>
          </p:cNvPr>
          <p:cNvSpPr>
            <a:spLocks noGrp="1"/>
          </p:cNvSpPr>
          <p:nvPr>
            <p:ph type="body" sz="quarter" idx="10" hasCustomPrompt="1"/>
          </p:nvPr>
        </p:nvSpPr>
        <p:spPr>
          <a:xfrm>
            <a:off x="382374" y="2404160"/>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6" name="Text Placeholder 3">
            <a:extLst>
              <a:ext uri="{FF2B5EF4-FFF2-40B4-BE49-F238E27FC236}">
                <a16:creationId xmlns:a16="http://schemas.microsoft.com/office/drawing/2014/main" id="{DFDD0F4E-581A-9625-EAA5-09FD04AF09EE}"/>
              </a:ext>
            </a:extLst>
          </p:cNvPr>
          <p:cNvSpPr>
            <a:spLocks noGrp="1"/>
          </p:cNvSpPr>
          <p:nvPr>
            <p:ph type="body" sz="quarter" idx="11" hasCustomPrompt="1"/>
          </p:nvPr>
        </p:nvSpPr>
        <p:spPr>
          <a:xfrm>
            <a:off x="4221757" y="2404160"/>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7" name="Text Placeholder 3">
            <a:extLst>
              <a:ext uri="{FF2B5EF4-FFF2-40B4-BE49-F238E27FC236}">
                <a16:creationId xmlns:a16="http://schemas.microsoft.com/office/drawing/2014/main" id="{23982028-B5E4-863A-CC43-85F67A4FDC11}"/>
              </a:ext>
            </a:extLst>
          </p:cNvPr>
          <p:cNvSpPr>
            <a:spLocks noGrp="1"/>
          </p:cNvSpPr>
          <p:nvPr>
            <p:ph type="body" sz="quarter" idx="12" hasCustomPrompt="1"/>
          </p:nvPr>
        </p:nvSpPr>
        <p:spPr>
          <a:xfrm>
            <a:off x="8059570" y="2404160"/>
            <a:ext cx="374849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1" name="Text Placeholder 3">
            <a:extLst>
              <a:ext uri="{FF2B5EF4-FFF2-40B4-BE49-F238E27FC236}">
                <a16:creationId xmlns:a16="http://schemas.microsoft.com/office/drawing/2014/main" id="{6F97CEDB-8CD7-DDE2-0688-B82822F6ABBA}"/>
              </a:ext>
            </a:extLst>
          </p:cNvPr>
          <p:cNvSpPr>
            <a:spLocks noGrp="1"/>
          </p:cNvSpPr>
          <p:nvPr>
            <p:ph type="body" sz="quarter" idx="13"/>
          </p:nvPr>
        </p:nvSpPr>
        <p:spPr>
          <a:xfrm>
            <a:off x="382374"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219AA33A-18DD-273F-1565-8996E1C9E158}"/>
              </a:ext>
            </a:extLst>
          </p:cNvPr>
          <p:cNvSpPr>
            <a:spLocks noGrp="1"/>
          </p:cNvSpPr>
          <p:nvPr>
            <p:ph type="body" sz="quarter" idx="14"/>
          </p:nvPr>
        </p:nvSpPr>
        <p:spPr>
          <a:xfrm>
            <a:off x="4221756"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3" name="Text Placeholder 3">
            <a:extLst>
              <a:ext uri="{FF2B5EF4-FFF2-40B4-BE49-F238E27FC236}">
                <a16:creationId xmlns:a16="http://schemas.microsoft.com/office/drawing/2014/main" id="{5963EBF3-C7E4-95A7-47D0-1105F4CE3924}"/>
              </a:ext>
            </a:extLst>
          </p:cNvPr>
          <p:cNvSpPr>
            <a:spLocks noGrp="1"/>
          </p:cNvSpPr>
          <p:nvPr>
            <p:ph type="body" sz="quarter" idx="15"/>
          </p:nvPr>
        </p:nvSpPr>
        <p:spPr>
          <a:xfrm>
            <a:off x="8061140"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5" name="Title 4">
            <a:extLst>
              <a:ext uri="{FF2B5EF4-FFF2-40B4-BE49-F238E27FC236}">
                <a16:creationId xmlns:a16="http://schemas.microsoft.com/office/drawing/2014/main" id="{A5BFDDAA-6C39-6546-0458-729532BE63BC}"/>
              </a:ext>
            </a:extLst>
          </p:cNvPr>
          <p:cNvSpPr>
            <a:spLocks noGrp="1"/>
          </p:cNvSpPr>
          <p:nvPr>
            <p:ph type="title"/>
          </p:nvPr>
        </p:nvSpPr>
        <p:spPr/>
        <p:txBody>
          <a:bodyPr/>
          <a:lstStyle/>
          <a:p>
            <a:r>
              <a:rPr lang="en-US"/>
              <a:t>Click to edit Master title style</a:t>
            </a:r>
            <a:endParaRPr lang="en-GB"/>
          </a:p>
        </p:txBody>
      </p:sp>
      <p:grpSp>
        <p:nvGrpSpPr>
          <p:cNvPr id="2" name="Group 1">
            <a:extLst>
              <a:ext uri="{FF2B5EF4-FFF2-40B4-BE49-F238E27FC236}">
                <a16:creationId xmlns:a16="http://schemas.microsoft.com/office/drawing/2014/main" id="{71023F27-C632-2B35-90D7-D363958D34AE}"/>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1FDB08B-79F4-F83F-A40E-A2E53D1F9F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8" name="MS logo gray - EMF" descr="Microsoft logo, gray text version">
              <a:extLst>
                <a:ext uri="{FF2B5EF4-FFF2-40B4-BE49-F238E27FC236}">
                  <a16:creationId xmlns:a16="http://schemas.microsoft.com/office/drawing/2014/main" id="{98627BD2-CC66-1AD5-86F0-71843EB8801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622874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0" pos="2997">
          <p15:clr>
            <a:srgbClr val="FBAE40"/>
          </p15:clr>
        </p15:guide>
        <p15:guide id="11" pos="3081">
          <p15:clr>
            <a:srgbClr val="FBAE40"/>
          </p15:clr>
        </p15:guide>
        <p15:guide id="12" pos="5717">
          <p15:clr>
            <a:srgbClr val="FBAE40"/>
          </p15:clr>
        </p15:guide>
        <p15:guide id="13" pos="5802">
          <p15:clr>
            <a:srgbClr val="FBAE40"/>
          </p15:clr>
        </p15:guide>
        <p15:guide id="14" pos="8448">
          <p15:clr>
            <a:srgbClr val="FBAE40"/>
          </p15:clr>
        </p15:guide>
        <p15:guide id="15" pos="852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C5D51-B0C9-3C71-6C18-436318D9F4A2}"/>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7DD8548B-F8FF-7036-C206-70D2D95FB12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74E2A58-0F3E-C98C-BF96-63EB81275A95}"/>
              </a:ext>
            </a:extLst>
          </p:cNvPr>
          <p:cNvSpPr>
            <a:spLocks noGrp="1"/>
          </p:cNvSpPr>
          <p:nvPr>
            <p:ph type="dt" sz="half" idx="10"/>
          </p:nvPr>
        </p:nvSpPr>
        <p:spPr/>
        <p:txBody>
          <a:bodyPr/>
          <a:lstStyle/>
          <a:p>
            <a:fld id="{92FB6F75-9719-4CAF-902B-951CCB2FE4BC}" type="datetimeFigureOut">
              <a:rPr lang="en-GB" smtClean="0"/>
              <a:t>15/05/2025</a:t>
            </a:fld>
            <a:endParaRPr lang="en-GB"/>
          </a:p>
        </p:txBody>
      </p:sp>
      <p:sp>
        <p:nvSpPr>
          <p:cNvPr id="5" name="Footer Placeholder 4">
            <a:extLst>
              <a:ext uri="{FF2B5EF4-FFF2-40B4-BE49-F238E27FC236}">
                <a16:creationId xmlns:a16="http://schemas.microsoft.com/office/drawing/2014/main" id="{C4CB0AD1-78B0-1C9B-3EF5-C38C6BD567C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CFF4925-27F2-A72D-D79C-0FACB0D145AC}"/>
              </a:ext>
            </a:extLst>
          </p:cNvPr>
          <p:cNvSpPr>
            <a:spLocks noGrp="1"/>
          </p:cNvSpPr>
          <p:nvPr>
            <p:ph type="sldNum" sz="quarter" idx="12"/>
          </p:nvPr>
        </p:nvSpPr>
        <p:spPr/>
        <p:txBody>
          <a:bodyPr/>
          <a:lstStyle/>
          <a:p>
            <a:fld id="{F29889FA-A085-4D8D-B485-D4895BB00615}" type="slidenum">
              <a:rPr lang="en-GB" smtClean="0"/>
              <a:t>‹#›</a:t>
            </a:fld>
            <a:endParaRPr lang="en-GB"/>
          </a:p>
        </p:txBody>
      </p:sp>
    </p:spTree>
    <p:extLst>
      <p:ext uri="{BB962C8B-B14F-4D97-AF65-F5344CB8AC3E}">
        <p14:creationId xmlns:p14="http://schemas.microsoft.com/office/powerpoint/2010/main" val="33830051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genda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3" name="Text Placeholder 3">
            <a:extLst>
              <a:ext uri="{FF2B5EF4-FFF2-40B4-BE49-F238E27FC236}">
                <a16:creationId xmlns:a16="http://schemas.microsoft.com/office/drawing/2014/main" id="{2EF5B4F6-A512-8F2B-66B1-357BC6C9CBEF}"/>
              </a:ext>
            </a:extLst>
          </p:cNvPr>
          <p:cNvSpPr>
            <a:spLocks noGrp="1"/>
          </p:cNvSpPr>
          <p:nvPr>
            <p:ph type="body" sz="quarter" idx="10" hasCustomPrompt="1"/>
          </p:nvPr>
        </p:nvSpPr>
        <p:spPr>
          <a:xfrm>
            <a:off x="382372" y="2404160"/>
            <a:ext cx="2770624"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6" name="Text Placeholder 3">
            <a:extLst>
              <a:ext uri="{FF2B5EF4-FFF2-40B4-BE49-F238E27FC236}">
                <a16:creationId xmlns:a16="http://schemas.microsoft.com/office/drawing/2014/main" id="{DFDD0F4E-581A-9625-EAA5-09FD04AF09EE}"/>
              </a:ext>
            </a:extLst>
          </p:cNvPr>
          <p:cNvSpPr>
            <a:spLocks noGrp="1"/>
          </p:cNvSpPr>
          <p:nvPr>
            <p:ph type="body" sz="quarter" idx="11" hasCustomPrompt="1"/>
          </p:nvPr>
        </p:nvSpPr>
        <p:spPr>
          <a:xfrm>
            <a:off x="3266486" y="2404160"/>
            <a:ext cx="2770624"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7" name="Text Placeholder 3">
            <a:extLst>
              <a:ext uri="{FF2B5EF4-FFF2-40B4-BE49-F238E27FC236}">
                <a16:creationId xmlns:a16="http://schemas.microsoft.com/office/drawing/2014/main" id="{23982028-B5E4-863A-CC43-85F67A4FDC11}"/>
              </a:ext>
            </a:extLst>
          </p:cNvPr>
          <p:cNvSpPr>
            <a:spLocks noGrp="1"/>
          </p:cNvSpPr>
          <p:nvPr>
            <p:ph type="body" sz="quarter" idx="12" hasCustomPrompt="1"/>
          </p:nvPr>
        </p:nvSpPr>
        <p:spPr>
          <a:xfrm>
            <a:off x="6150600" y="2404160"/>
            <a:ext cx="277178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1" name="Text Placeholder 3">
            <a:extLst>
              <a:ext uri="{FF2B5EF4-FFF2-40B4-BE49-F238E27FC236}">
                <a16:creationId xmlns:a16="http://schemas.microsoft.com/office/drawing/2014/main" id="{6F97CEDB-8CD7-DDE2-0688-B82822F6ABBA}"/>
              </a:ext>
            </a:extLst>
          </p:cNvPr>
          <p:cNvSpPr>
            <a:spLocks noGrp="1"/>
          </p:cNvSpPr>
          <p:nvPr>
            <p:ph type="body" sz="quarter" idx="13"/>
          </p:nvPr>
        </p:nvSpPr>
        <p:spPr>
          <a:xfrm>
            <a:off x="382372"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219AA33A-18DD-273F-1565-8996E1C9E158}"/>
              </a:ext>
            </a:extLst>
          </p:cNvPr>
          <p:cNvSpPr>
            <a:spLocks noGrp="1"/>
          </p:cNvSpPr>
          <p:nvPr>
            <p:ph type="body" sz="quarter" idx="14"/>
          </p:nvPr>
        </p:nvSpPr>
        <p:spPr>
          <a:xfrm>
            <a:off x="3267394"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3" name="Text Placeholder 3">
            <a:extLst>
              <a:ext uri="{FF2B5EF4-FFF2-40B4-BE49-F238E27FC236}">
                <a16:creationId xmlns:a16="http://schemas.microsoft.com/office/drawing/2014/main" id="{5963EBF3-C7E4-95A7-47D0-1105F4CE3924}"/>
              </a:ext>
            </a:extLst>
          </p:cNvPr>
          <p:cNvSpPr>
            <a:spLocks noGrp="1"/>
          </p:cNvSpPr>
          <p:nvPr>
            <p:ph type="body" sz="quarter" idx="15"/>
          </p:nvPr>
        </p:nvSpPr>
        <p:spPr>
          <a:xfrm>
            <a:off x="6152416"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682AC67C-654F-E054-8EBC-95CA095A392E}"/>
              </a:ext>
            </a:extLst>
          </p:cNvPr>
          <p:cNvSpPr>
            <a:spLocks noGrp="1"/>
          </p:cNvSpPr>
          <p:nvPr>
            <p:ph type="body" sz="quarter" idx="16" hasCustomPrompt="1"/>
          </p:nvPr>
        </p:nvSpPr>
        <p:spPr>
          <a:xfrm>
            <a:off x="9035872" y="2404160"/>
            <a:ext cx="277178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4</a:t>
            </a:r>
            <a:endParaRPr lang="en-GB"/>
          </a:p>
        </p:txBody>
      </p:sp>
      <p:sp>
        <p:nvSpPr>
          <p:cNvPr id="15" name="Text Placeholder 3">
            <a:extLst>
              <a:ext uri="{FF2B5EF4-FFF2-40B4-BE49-F238E27FC236}">
                <a16:creationId xmlns:a16="http://schemas.microsoft.com/office/drawing/2014/main" id="{79429CAE-9B89-FCB1-039F-6A476B053760}"/>
              </a:ext>
            </a:extLst>
          </p:cNvPr>
          <p:cNvSpPr>
            <a:spLocks noGrp="1"/>
          </p:cNvSpPr>
          <p:nvPr>
            <p:ph type="body" sz="quarter" idx="17"/>
          </p:nvPr>
        </p:nvSpPr>
        <p:spPr>
          <a:xfrm>
            <a:off x="9037438"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4" name="Group 3">
            <a:extLst>
              <a:ext uri="{FF2B5EF4-FFF2-40B4-BE49-F238E27FC236}">
                <a16:creationId xmlns:a16="http://schemas.microsoft.com/office/drawing/2014/main" id="{7AA3A740-F4AA-9062-263A-9BE07BFF5DB2}"/>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A032ACF3-6EAD-7D63-DEE7-B31D8915E2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8" name="MS logo gray - EMF" descr="Microsoft logo, gray text version">
              <a:extLst>
                <a:ext uri="{FF2B5EF4-FFF2-40B4-BE49-F238E27FC236}">
                  <a16:creationId xmlns:a16="http://schemas.microsoft.com/office/drawing/2014/main" id="{710607B2-6202-AD88-7A01-AA3B3DD4688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66048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Agenda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6" name="Text Placeholder 3">
            <a:extLst>
              <a:ext uri="{FF2B5EF4-FFF2-40B4-BE49-F238E27FC236}">
                <a16:creationId xmlns:a16="http://schemas.microsoft.com/office/drawing/2014/main" id="{57E80F58-2D6E-6D45-8BD4-AC7883995C4C}"/>
              </a:ext>
            </a:extLst>
          </p:cNvPr>
          <p:cNvSpPr>
            <a:spLocks noGrp="1"/>
          </p:cNvSpPr>
          <p:nvPr>
            <p:ph type="body" sz="quarter" idx="10" hasCustomPrompt="1"/>
          </p:nvPr>
        </p:nvSpPr>
        <p:spPr>
          <a:xfrm>
            <a:off x="382374" y="1233488"/>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17" name="Text Placeholder 3">
            <a:extLst>
              <a:ext uri="{FF2B5EF4-FFF2-40B4-BE49-F238E27FC236}">
                <a16:creationId xmlns:a16="http://schemas.microsoft.com/office/drawing/2014/main" id="{D176BFA8-5FA2-1822-9D33-02AD7EA98F79}"/>
              </a:ext>
            </a:extLst>
          </p:cNvPr>
          <p:cNvSpPr>
            <a:spLocks noGrp="1"/>
          </p:cNvSpPr>
          <p:nvPr>
            <p:ph type="body" sz="quarter" idx="11" hasCustomPrompt="1"/>
          </p:nvPr>
        </p:nvSpPr>
        <p:spPr>
          <a:xfrm>
            <a:off x="4221757" y="1233488"/>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18" name="Text Placeholder 3">
            <a:extLst>
              <a:ext uri="{FF2B5EF4-FFF2-40B4-BE49-F238E27FC236}">
                <a16:creationId xmlns:a16="http://schemas.microsoft.com/office/drawing/2014/main" id="{4D1D04EF-5B80-65B3-7796-66758DFE3F50}"/>
              </a:ext>
            </a:extLst>
          </p:cNvPr>
          <p:cNvSpPr>
            <a:spLocks noGrp="1"/>
          </p:cNvSpPr>
          <p:nvPr>
            <p:ph type="body" sz="quarter" idx="12" hasCustomPrompt="1"/>
          </p:nvPr>
        </p:nvSpPr>
        <p:spPr>
          <a:xfrm>
            <a:off x="8059570" y="1233488"/>
            <a:ext cx="374849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9" name="Text Placeholder 3">
            <a:extLst>
              <a:ext uri="{FF2B5EF4-FFF2-40B4-BE49-F238E27FC236}">
                <a16:creationId xmlns:a16="http://schemas.microsoft.com/office/drawing/2014/main" id="{8385C8A7-C561-5DFB-FEC2-D3F770A7C5D8}"/>
              </a:ext>
            </a:extLst>
          </p:cNvPr>
          <p:cNvSpPr>
            <a:spLocks noGrp="1"/>
          </p:cNvSpPr>
          <p:nvPr>
            <p:ph type="body" sz="quarter" idx="13"/>
          </p:nvPr>
        </p:nvSpPr>
        <p:spPr>
          <a:xfrm>
            <a:off x="382374"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0" name="Text Placeholder 3">
            <a:extLst>
              <a:ext uri="{FF2B5EF4-FFF2-40B4-BE49-F238E27FC236}">
                <a16:creationId xmlns:a16="http://schemas.microsoft.com/office/drawing/2014/main" id="{DA910C1D-12FF-43F7-0753-345D02D2C42A}"/>
              </a:ext>
            </a:extLst>
          </p:cNvPr>
          <p:cNvSpPr>
            <a:spLocks noGrp="1"/>
          </p:cNvSpPr>
          <p:nvPr>
            <p:ph type="body" sz="quarter" idx="14"/>
          </p:nvPr>
        </p:nvSpPr>
        <p:spPr>
          <a:xfrm>
            <a:off x="4221756"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1" name="Text Placeholder 3">
            <a:extLst>
              <a:ext uri="{FF2B5EF4-FFF2-40B4-BE49-F238E27FC236}">
                <a16:creationId xmlns:a16="http://schemas.microsoft.com/office/drawing/2014/main" id="{15CCA5AB-6763-0F78-FE76-5DA1D3371EAB}"/>
              </a:ext>
            </a:extLst>
          </p:cNvPr>
          <p:cNvSpPr>
            <a:spLocks noGrp="1"/>
          </p:cNvSpPr>
          <p:nvPr>
            <p:ph type="body" sz="quarter" idx="15"/>
          </p:nvPr>
        </p:nvSpPr>
        <p:spPr>
          <a:xfrm>
            <a:off x="8061140"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2" name="Text Placeholder 3">
            <a:extLst>
              <a:ext uri="{FF2B5EF4-FFF2-40B4-BE49-F238E27FC236}">
                <a16:creationId xmlns:a16="http://schemas.microsoft.com/office/drawing/2014/main" id="{C2A36585-378F-B7F4-DA8B-23C40C5F1130}"/>
              </a:ext>
            </a:extLst>
          </p:cNvPr>
          <p:cNvSpPr>
            <a:spLocks noGrp="1"/>
          </p:cNvSpPr>
          <p:nvPr>
            <p:ph type="body" sz="quarter" idx="16" hasCustomPrompt="1"/>
          </p:nvPr>
        </p:nvSpPr>
        <p:spPr>
          <a:xfrm>
            <a:off x="382374" y="3839936"/>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4</a:t>
            </a:r>
            <a:endParaRPr lang="en-GB"/>
          </a:p>
        </p:txBody>
      </p:sp>
      <p:sp>
        <p:nvSpPr>
          <p:cNvPr id="23" name="Text Placeholder 3">
            <a:extLst>
              <a:ext uri="{FF2B5EF4-FFF2-40B4-BE49-F238E27FC236}">
                <a16:creationId xmlns:a16="http://schemas.microsoft.com/office/drawing/2014/main" id="{CDE911F5-7A7E-C7D0-EB3D-E08C34847CC8}"/>
              </a:ext>
            </a:extLst>
          </p:cNvPr>
          <p:cNvSpPr>
            <a:spLocks noGrp="1"/>
          </p:cNvSpPr>
          <p:nvPr>
            <p:ph type="body" sz="quarter" idx="17" hasCustomPrompt="1"/>
          </p:nvPr>
        </p:nvSpPr>
        <p:spPr>
          <a:xfrm>
            <a:off x="4221757" y="3839936"/>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5</a:t>
            </a:r>
            <a:endParaRPr lang="en-GB"/>
          </a:p>
        </p:txBody>
      </p:sp>
      <p:sp>
        <p:nvSpPr>
          <p:cNvPr id="25" name="Text Placeholder 3">
            <a:extLst>
              <a:ext uri="{FF2B5EF4-FFF2-40B4-BE49-F238E27FC236}">
                <a16:creationId xmlns:a16="http://schemas.microsoft.com/office/drawing/2014/main" id="{72C0030E-E903-1E64-F314-F0A70C368C21}"/>
              </a:ext>
            </a:extLst>
          </p:cNvPr>
          <p:cNvSpPr>
            <a:spLocks noGrp="1"/>
          </p:cNvSpPr>
          <p:nvPr>
            <p:ph type="body" sz="quarter" idx="19"/>
          </p:nvPr>
        </p:nvSpPr>
        <p:spPr>
          <a:xfrm>
            <a:off x="382374" y="5091155"/>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6" name="Text Placeholder 3">
            <a:extLst>
              <a:ext uri="{FF2B5EF4-FFF2-40B4-BE49-F238E27FC236}">
                <a16:creationId xmlns:a16="http://schemas.microsoft.com/office/drawing/2014/main" id="{2AFE6F03-5077-EC25-165B-84B1B2D62C50}"/>
              </a:ext>
            </a:extLst>
          </p:cNvPr>
          <p:cNvSpPr>
            <a:spLocks noGrp="1"/>
          </p:cNvSpPr>
          <p:nvPr>
            <p:ph type="body" sz="quarter" idx="20"/>
          </p:nvPr>
        </p:nvSpPr>
        <p:spPr>
          <a:xfrm>
            <a:off x="4221756" y="5091155"/>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AAA32409-A7F4-E6D9-41F6-07F34D7685B2}"/>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B9A36858-4CD1-F7B3-81B3-397160FD7F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69FE4F95-0EEB-A1C4-9226-90E493BB504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86602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Key Takeawa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4221756"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8061140"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6"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40"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FBDC4381-BA89-7F2C-AA61-94B753747613}"/>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0C92AF16-73AA-1033-2B70-4430418F55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0D37D0AF-B628-C3EF-91A3-F41A1FF92B5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24501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4">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oint Ic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noFill/>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4221756"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8061140"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6"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40"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9" name="Group 38">
            <a:extLst>
              <a:ext uri="{FF2B5EF4-FFF2-40B4-BE49-F238E27FC236}">
                <a16:creationId xmlns:a16="http://schemas.microsoft.com/office/drawing/2014/main" id="{81C0F347-2741-6F93-70EF-A064F8515267}"/>
              </a:ext>
            </a:extLst>
          </p:cNvPr>
          <p:cNvGrpSpPr>
            <a:grpSpLocks/>
          </p:cNvGrpSpPr>
          <p:nvPr userDrawn="1"/>
        </p:nvGrpSpPr>
        <p:grpSpPr>
          <a:xfrm>
            <a:off x="9069012" y="1388289"/>
            <a:ext cx="1753200" cy="1753712"/>
            <a:chOff x="8485195" y="4484505"/>
            <a:chExt cx="1317610" cy="1317990"/>
          </a:xfrm>
        </p:grpSpPr>
        <p:sp>
          <p:nvSpPr>
            <p:cNvPr id="40" name="Oval 39">
              <a:extLst>
                <a:ext uri="{FF2B5EF4-FFF2-40B4-BE49-F238E27FC236}">
                  <a16:creationId xmlns:a16="http://schemas.microsoft.com/office/drawing/2014/main" id="{60532FBA-11AD-7B6E-EC65-800ED3D31879}"/>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3C492BA8-9400-EA59-230C-F19713C202F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6" name="Group 35">
            <a:extLst>
              <a:ext uri="{FF2B5EF4-FFF2-40B4-BE49-F238E27FC236}">
                <a16:creationId xmlns:a16="http://schemas.microsoft.com/office/drawing/2014/main" id="{FF0178D1-C169-4D24-7E97-AD8DFCEA3FE4}"/>
              </a:ext>
            </a:extLst>
          </p:cNvPr>
          <p:cNvGrpSpPr>
            <a:grpSpLocks/>
          </p:cNvGrpSpPr>
          <p:nvPr userDrawn="1"/>
        </p:nvGrpSpPr>
        <p:grpSpPr>
          <a:xfrm>
            <a:off x="5229629" y="1388289"/>
            <a:ext cx="1753200" cy="1753712"/>
            <a:chOff x="8485195" y="4484505"/>
            <a:chExt cx="1317610" cy="1317990"/>
          </a:xfrm>
        </p:grpSpPr>
        <p:sp>
          <p:nvSpPr>
            <p:cNvPr id="37" name="Oval 36">
              <a:extLst>
                <a:ext uri="{FF2B5EF4-FFF2-40B4-BE49-F238E27FC236}">
                  <a16:creationId xmlns:a16="http://schemas.microsoft.com/office/drawing/2014/main" id="{0926200A-9FC8-C286-7260-C958DDDA1BF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51DBCEDA-10C6-AA19-A4CE-76B97549A59A}"/>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3" name="Group 32">
            <a:extLst>
              <a:ext uri="{FF2B5EF4-FFF2-40B4-BE49-F238E27FC236}">
                <a16:creationId xmlns:a16="http://schemas.microsoft.com/office/drawing/2014/main" id="{274FDAE2-5022-A232-6C04-0EC6D37E2497}"/>
              </a:ext>
            </a:extLst>
          </p:cNvPr>
          <p:cNvGrpSpPr>
            <a:grpSpLocks/>
          </p:cNvGrpSpPr>
          <p:nvPr userDrawn="1"/>
        </p:nvGrpSpPr>
        <p:grpSpPr>
          <a:xfrm>
            <a:off x="1388139" y="1388289"/>
            <a:ext cx="1753200" cy="1753712"/>
            <a:chOff x="8485195" y="4484505"/>
            <a:chExt cx="1317610" cy="1317990"/>
          </a:xfrm>
        </p:grpSpPr>
        <p:sp>
          <p:nvSpPr>
            <p:cNvPr id="34" name="Oval 33">
              <a:extLst>
                <a:ext uri="{FF2B5EF4-FFF2-40B4-BE49-F238E27FC236}">
                  <a16:creationId xmlns:a16="http://schemas.microsoft.com/office/drawing/2014/main" id="{0B44B01A-EE1A-6379-B566-3975A67CD1C8}"/>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48A3FE86-34FF-95B4-AC73-49C3F1BBE64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 name="Group 2">
            <a:extLst>
              <a:ext uri="{FF2B5EF4-FFF2-40B4-BE49-F238E27FC236}">
                <a16:creationId xmlns:a16="http://schemas.microsoft.com/office/drawing/2014/main" id="{121F7402-9DCE-0364-0EA6-1D84D17FA416}"/>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7907A4BA-D3AF-4279-6495-7D858450AD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E760ED1-3B04-BCF9-91C0-7738F62E6FF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6374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5">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Point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2"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3261126"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6139880"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2"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3261126"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6139880"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6" name="Group 5">
            <a:extLst>
              <a:ext uri="{FF2B5EF4-FFF2-40B4-BE49-F238E27FC236}">
                <a16:creationId xmlns:a16="http://schemas.microsoft.com/office/drawing/2014/main" id="{5C8181C6-0E9D-2294-5467-521BC164976B}"/>
              </a:ext>
            </a:extLst>
          </p:cNvPr>
          <p:cNvGrpSpPr>
            <a:grpSpLocks/>
          </p:cNvGrpSpPr>
          <p:nvPr userDrawn="1"/>
        </p:nvGrpSpPr>
        <p:grpSpPr>
          <a:xfrm>
            <a:off x="911498" y="1388289"/>
            <a:ext cx="1753200" cy="1753712"/>
            <a:chOff x="8485195" y="4484505"/>
            <a:chExt cx="1317610" cy="1317990"/>
          </a:xfrm>
        </p:grpSpPr>
        <p:sp>
          <p:nvSpPr>
            <p:cNvPr id="3" name="Oval 2">
              <a:extLst>
                <a:ext uri="{FF2B5EF4-FFF2-40B4-BE49-F238E27FC236}">
                  <a16:creationId xmlns:a16="http://schemas.microsoft.com/office/drawing/2014/main" id="{D274BC34-3D33-583C-2987-37D7067894B2}"/>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Oval 3">
              <a:extLst>
                <a:ext uri="{FF2B5EF4-FFF2-40B4-BE49-F238E27FC236}">
                  <a16:creationId xmlns:a16="http://schemas.microsoft.com/office/drawing/2014/main" id="{28490AE2-2D20-BAA0-ADAB-56FF0892594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0" name="Group 9">
            <a:extLst>
              <a:ext uri="{FF2B5EF4-FFF2-40B4-BE49-F238E27FC236}">
                <a16:creationId xmlns:a16="http://schemas.microsoft.com/office/drawing/2014/main" id="{E796477F-037B-B48A-5F1B-ADA1AE00E6CF}"/>
              </a:ext>
            </a:extLst>
          </p:cNvPr>
          <p:cNvGrpSpPr>
            <a:grpSpLocks/>
          </p:cNvGrpSpPr>
          <p:nvPr userDrawn="1"/>
        </p:nvGrpSpPr>
        <p:grpSpPr>
          <a:xfrm>
            <a:off x="6669008" y="1388289"/>
            <a:ext cx="1753200" cy="1753712"/>
            <a:chOff x="8485195" y="4484505"/>
            <a:chExt cx="1317610" cy="1317990"/>
          </a:xfrm>
        </p:grpSpPr>
        <p:sp>
          <p:nvSpPr>
            <p:cNvPr id="17" name="Oval 16">
              <a:extLst>
                <a:ext uri="{FF2B5EF4-FFF2-40B4-BE49-F238E27FC236}">
                  <a16:creationId xmlns:a16="http://schemas.microsoft.com/office/drawing/2014/main" id="{D434BDEA-A106-98AF-E748-F59D189932C8}"/>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E202F7AD-ED48-1AC6-6E43-08C38EC67FCE}"/>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25" name="Group 24">
            <a:extLst>
              <a:ext uri="{FF2B5EF4-FFF2-40B4-BE49-F238E27FC236}">
                <a16:creationId xmlns:a16="http://schemas.microsoft.com/office/drawing/2014/main" id="{432AA894-4125-50D6-B122-85AF096FCEB9}"/>
              </a:ext>
            </a:extLst>
          </p:cNvPr>
          <p:cNvGrpSpPr>
            <a:grpSpLocks/>
          </p:cNvGrpSpPr>
          <p:nvPr userDrawn="1"/>
        </p:nvGrpSpPr>
        <p:grpSpPr>
          <a:xfrm>
            <a:off x="9547761" y="1388289"/>
            <a:ext cx="1753200" cy="1753712"/>
            <a:chOff x="8485195" y="4484505"/>
            <a:chExt cx="1317610" cy="1317990"/>
          </a:xfrm>
        </p:grpSpPr>
        <p:sp>
          <p:nvSpPr>
            <p:cNvPr id="26" name="Oval 25">
              <a:extLst>
                <a:ext uri="{FF2B5EF4-FFF2-40B4-BE49-F238E27FC236}">
                  <a16:creationId xmlns:a16="http://schemas.microsoft.com/office/drawing/2014/main" id="{568CB933-A171-4520-500C-D6D0AE721AA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829321E5-9189-E20B-E297-8955A0E337C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38" name="Text Placeholder 3">
            <a:extLst>
              <a:ext uri="{FF2B5EF4-FFF2-40B4-BE49-F238E27FC236}">
                <a16:creationId xmlns:a16="http://schemas.microsoft.com/office/drawing/2014/main" id="{19C31969-43A8-758C-EED4-0561C78B916A}"/>
              </a:ext>
            </a:extLst>
          </p:cNvPr>
          <p:cNvSpPr>
            <a:spLocks noGrp="1"/>
          </p:cNvSpPr>
          <p:nvPr>
            <p:ph type="body" sz="quarter" idx="19"/>
          </p:nvPr>
        </p:nvSpPr>
        <p:spPr>
          <a:xfrm>
            <a:off x="9018634"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9" name="Text Placeholder 3">
            <a:extLst>
              <a:ext uri="{FF2B5EF4-FFF2-40B4-BE49-F238E27FC236}">
                <a16:creationId xmlns:a16="http://schemas.microsoft.com/office/drawing/2014/main" id="{6612CB20-DCA4-BFAB-9C91-C26C11774F28}"/>
              </a:ext>
            </a:extLst>
          </p:cNvPr>
          <p:cNvSpPr>
            <a:spLocks noGrp="1"/>
          </p:cNvSpPr>
          <p:nvPr>
            <p:ph type="body" sz="quarter" idx="20"/>
          </p:nvPr>
        </p:nvSpPr>
        <p:spPr>
          <a:xfrm>
            <a:off x="9018634"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7" name="Group 6">
            <a:extLst>
              <a:ext uri="{FF2B5EF4-FFF2-40B4-BE49-F238E27FC236}">
                <a16:creationId xmlns:a16="http://schemas.microsoft.com/office/drawing/2014/main" id="{65C50980-BB29-B2FA-2ACA-DCE92B03EAD6}"/>
              </a:ext>
            </a:extLst>
          </p:cNvPr>
          <p:cNvGrpSpPr>
            <a:grpSpLocks/>
          </p:cNvGrpSpPr>
          <p:nvPr userDrawn="1"/>
        </p:nvGrpSpPr>
        <p:grpSpPr>
          <a:xfrm>
            <a:off x="3790253" y="1388289"/>
            <a:ext cx="1753200" cy="1753712"/>
            <a:chOff x="8485195" y="4484505"/>
            <a:chExt cx="1317610" cy="1317990"/>
          </a:xfrm>
        </p:grpSpPr>
        <p:sp>
          <p:nvSpPr>
            <p:cNvPr id="8" name="Oval 7">
              <a:extLst>
                <a:ext uri="{FF2B5EF4-FFF2-40B4-BE49-F238E27FC236}">
                  <a16:creationId xmlns:a16="http://schemas.microsoft.com/office/drawing/2014/main" id="{E254E8CE-2BA1-DE42-D461-39FC2C69F61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58881B44-7714-D565-A27C-41796AADEC4F}"/>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5" name="Group 4">
            <a:extLst>
              <a:ext uri="{FF2B5EF4-FFF2-40B4-BE49-F238E27FC236}">
                <a16:creationId xmlns:a16="http://schemas.microsoft.com/office/drawing/2014/main" id="{18BB77EE-BB07-DB51-C159-09722CA44380}"/>
              </a:ext>
            </a:extLst>
          </p:cNvPr>
          <p:cNvGrpSpPr/>
          <p:nvPr userDrawn="1"/>
        </p:nvGrpSpPr>
        <p:grpSpPr>
          <a:xfrm>
            <a:off x="407459" y="6457261"/>
            <a:ext cx="1498506" cy="192755"/>
            <a:chOff x="611188" y="9429750"/>
            <a:chExt cx="3412172" cy="438912"/>
          </a:xfrm>
        </p:grpSpPr>
        <p:pic>
          <p:nvPicPr>
            <p:cNvPr id="11" name="Graphic 10">
              <a:extLst>
                <a:ext uri="{FF2B5EF4-FFF2-40B4-BE49-F238E27FC236}">
                  <a16:creationId xmlns:a16="http://schemas.microsoft.com/office/drawing/2014/main" id="{605EA56B-E0E8-39E5-41E6-D3579EF3DB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12" name="MS logo gray - EMF" descr="Microsoft logo, gray text version">
              <a:extLst>
                <a:ext uri="{FF2B5EF4-FFF2-40B4-BE49-F238E27FC236}">
                  <a16:creationId xmlns:a16="http://schemas.microsoft.com/office/drawing/2014/main" id="{9D3BB615-2682-437D-D678-BEC17541CE4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24832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3016">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 Point Ic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2688119"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4993865"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4"/>
            <a:ext cx="2204275"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2688119"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4993865"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3" name="Group 2">
            <a:extLst>
              <a:ext uri="{FF2B5EF4-FFF2-40B4-BE49-F238E27FC236}">
                <a16:creationId xmlns:a16="http://schemas.microsoft.com/office/drawing/2014/main" id="{384274B1-F1F2-2A21-1FB3-F0B2E3AAB644}"/>
              </a:ext>
            </a:extLst>
          </p:cNvPr>
          <p:cNvGrpSpPr>
            <a:grpSpLocks/>
          </p:cNvGrpSpPr>
          <p:nvPr userDrawn="1"/>
        </p:nvGrpSpPr>
        <p:grpSpPr>
          <a:xfrm>
            <a:off x="618922" y="1388289"/>
            <a:ext cx="1753200" cy="1753712"/>
            <a:chOff x="8485195" y="4484505"/>
            <a:chExt cx="1317610" cy="1317990"/>
          </a:xfrm>
        </p:grpSpPr>
        <p:sp>
          <p:nvSpPr>
            <p:cNvPr id="4" name="Oval 3">
              <a:extLst>
                <a:ext uri="{FF2B5EF4-FFF2-40B4-BE49-F238E27FC236}">
                  <a16:creationId xmlns:a16="http://schemas.microsoft.com/office/drawing/2014/main" id="{FB61D01F-956C-066B-D279-9ACEFB078E79}"/>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D8F5C469-9784-6D95-48B3-F23B0B836B5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9" name="Group 8">
            <a:extLst>
              <a:ext uri="{FF2B5EF4-FFF2-40B4-BE49-F238E27FC236}">
                <a16:creationId xmlns:a16="http://schemas.microsoft.com/office/drawing/2014/main" id="{F763BBB9-721A-E18F-0238-4880D753A808}"/>
              </a:ext>
            </a:extLst>
          </p:cNvPr>
          <p:cNvGrpSpPr>
            <a:grpSpLocks/>
          </p:cNvGrpSpPr>
          <p:nvPr userDrawn="1"/>
        </p:nvGrpSpPr>
        <p:grpSpPr>
          <a:xfrm>
            <a:off x="5230413" y="1388289"/>
            <a:ext cx="1753200" cy="1753712"/>
            <a:chOff x="8485195" y="4484505"/>
            <a:chExt cx="1317610" cy="1317990"/>
          </a:xfrm>
        </p:grpSpPr>
        <p:sp>
          <p:nvSpPr>
            <p:cNvPr id="10" name="Oval 9">
              <a:extLst>
                <a:ext uri="{FF2B5EF4-FFF2-40B4-BE49-F238E27FC236}">
                  <a16:creationId xmlns:a16="http://schemas.microsoft.com/office/drawing/2014/main" id="{156DCA6D-B63B-F2DE-C208-A819C40D805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E98B58BF-3660-E1C3-6120-28300FCE0CD7}"/>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8" name="Group 17">
            <a:extLst>
              <a:ext uri="{FF2B5EF4-FFF2-40B4-BE49-F238E27FC236}">
                <a16:creationId xmlns:a16="http://schemas.microsoft.com/office/drawing/2014/main" id="{9A47392D-7F6B-24A4-1B7A-0CE2F342E7B5}"/>
              </a:ext>
            </a:extLst>
          </p:cNvPr>
          <p:cNvGrpSpPr>
            <a:grpSpLocks/>
          </p:cNvGrpSpPr>
          <p:nvPr userDrawn="1"/>
        </p:nvGrpSpPr>
        <p:grpSpPr>
          <a:xfrm>
            <a:off x="7536158" y="1388289"/>
            <a:ext cx="1753200" cy="1753712"/>
            <a:chOff x="8485195" y="4484505"/>
            <a:chExt cx="1317610" cy="1317990"/>
          </a:xfrm>
        </p:grpSpPr>
        <p:sp>
          <p:nvSpPr>
            <p:cNvPr id="25" name="Oval 24">
              <a:extLst>
                <a:ext uri="{FF2B5EF4-FFF2-40B4-BE49-F238E27FC236}">
                  <a16:creationId xmlns:a16="http://schemas.microsoft.com/office/drawing/2014/main" id="{201A8F39-1749-52B6-5677-3939509037FD}"/>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2F4528EE-9580-870A-12AA-944E4C0CA5C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38" name="Text Placeholder 3">
            <a:extLst>
              <a:ext uri="{FF2B5EF4-FFF2-40B4-BE49-F238E27FC236}">
                <a16:creationId xmlns:a16="http://schemas.microsoft.com/office/drawing/2014/main" id="{19C31969-43A8-758C-EED4-0561C78B916A}"/>
              </a:ext>
            </a:extLst>
          </p:cNvPr>
          <p:cNvSpPr>
            <a:spLocks noGrp="1"/>
          </p:cNvSpPr>
          <p:nvPr>
            <p:ph type="body" sz="quarter" idx="19"/>
          </p:nvPr>
        </p:nvSpPr>
        <p:spPr>
          <a:xfrm>
            <a:off x="7299610"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39" name="Text Placeholder 3">
            <a:extLst>
              <a:ext uri="{FF2B5EF4-FFF2-40B4-BE49-F238E27FC236}">
                <a16:creationId xmlns:a16="http://schemas.microsoft.com/office/drawing/2014/main" id="{6612CB20-DCA4-BFAB-9C91-C26C11774F28}"/>
              </a:ext>
            </a:extLst>
          </p:cNvPr>
          <p:cNvSpPr>
            <a:spLocks noGrp="1"/>
          </p:cNvSpPr>
          <p:nvPr>
            <p:ph type="body" sz="quarter" idx="20"/>
          </p:nvPr>
        </p:nvSpPr>
        <p:spPr>
          <a:xfrm>
            <a:off x="7299610"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6" name="Group 5">
            <a:extLst>
              <a:ext uri="{FF2B5EF4-FFF2-40B4-BE49-F238E27FC236}">
                <a16:creationId xmlns:a16="http://schemas.microsoft.com/office/drawing/2014/main" id="{492DDFBE-45F1-EB3B-ACE7-A46050B2EFB0}"/>
              </a:ext>
            </a:extLst>
          </p:cNvPr>
          <p:cNvGrpSpPr>
            <a:grpSpLocks/>
          </p:cNvGrpSpPr>
          <p:nvPr userDrawn="1"/>
        </p:nvGrpSpPr>
        <p:grpSpPr>
          <a:xfrm>
            <a:off x="2924667" y="1388289"/>
            <a:ext cx="1753200" cy="1753712"/>
            <a:chOff x="8485195" y="4484505"/>
            <a:chExt cx="1317610" cy="1317990"/>
          </a:xfrm>
        </p:grpSpPr>
        <p:sp>
          <p:nvSpPr>
            <p:cNvPr id="7" name="Oval 6">
              <a:extLst>
                <a:ext uri="{FF2B5EF4-FFF2-40B4-BE49-F238E27FC236}">
                  <a16:creationId xmlns:a16="http://schemas.microsoft.com/office/drawing/2014/main" id="{E90D128C-FB74-2688-50E2-04990897E58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0A381545-4710-62E8-A2FF-BDB555BDF4D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54" name="Text Placeholder 3">
            <a:extLst>
              <a:ext uri="{FF2B5EF4-FFF2-40B4-BE49-F238E27FC236}">
                <a16:creationId xmlns:a16="http://schemas.microsoft.com/office/drawing/2014/main" id="{D255216F-0FAA-8F8E-B3B7-4A925432FBFE}"/>
              </a:ext>
            </a:extLst>
          </p:cNvPr>
          <p:cNvSpPr>
            <a:spLocks noGrp="1"/>
          </p:cNvSpPr>
          <p:nvPr>
            <p:ph type="body" sz="quarter" idx="21"/>
          </p:nvPr>
        </p:nvSpPr>
        <p:spPr>
          <a:xfrm>
            <a:off x="9605356"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55" name="Text Placeholder 3">
            <a:extLst>
              <a:ext uri="{FF2B5EF4-FFF2-40B4-BE49-F238E27FC236}">
                <a16:creationId xmlns:a16="http://schemas.microsoft.com/office/drawing/2014/main" id="{B2E5EEC5-01F1-4D57-6657-7C951DAA64D0}"/>
              </a:ext>
            </a:extLst>
          </p:cNvPr>
          <p:cNvSpPr>
            <a:spLocks noGrp="1"/>
          </p:cNvSpPr>
          <p:nvPr>
            <p:ph type="body" sz="quarter" idx="22"/>
          </p:nvPr>
        </p:nvSpPr>
        <p:spPr>
          <a:xfrm>
            <a:off x="9605356"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32" name="Group 31">
            <a:extLst>
              <a:ext uri="{FF2B5EF4-FFF2-40B4-BE49-F238E27FC236}">
                <a16:creationId xmlns:a16="http://schemas.microsoft.com/office/drawing/2014/main" id="{4F9BBCA5-52A4-6E8A-4C99-2C29765A471A}"/>
              </a:ext>
            </a:extLst>
          </p:cNvPr>
          <p:cNvGrpSpPr>
            <a:grpSpLocks/>
          </p:cNvGrpSpPr>
          <p:nvPr userDrawn="1"/>
        </p:nvGrpSpPr>
        <p:grpSpPr>
          <a:xfrm>
            <a:off x="9841903" y="1388289"/>
            <a:ext cx="1753200" cy="1753712"/>
            <a:chOff x="8485195" y="4484505"/>
            <a:chExt cx="1317610" cy="1317990"/>
          </a:xfrm>
        </p:grpSpPr>
        <p:sp>
          <p:nvSpPr>
            <p:cNvPr id="33" name="Oval 32">
              <a:extLst>
                <a:ext uri="{FF2B5EF4-FFF2-40B4-BE49-F238E27FC236}">
                  <a16:creationId xmlns:a16="http://schemas.microsoft.com/office/drawing/2014/main" id="{ACA0B551-467A-F69D-23D6-455863AE285F}"/>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F4B4666-A459-25B8-AB07-01C1D0C7B1F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1" name="Group 10">
            <a:extLst>
              <a:ext uri="{FF2B5EF4-FFF2-40B4-BE49-F238E27FC236}">
                <a16:creationId xmlns:a16="http://schemas.microsoft.com/office/drawing/2014/main" id="{332F1329-26FE-AB28-40B7-B066CFDF8E97}"/>
              </a:ext>
            </a:extLst>
          </p:cNvPr>
          <p:cNvGrpSpPr/>
          <p:nvPr userDrawn="1"/>
        </p:nvGrpSpPr>
        <p:grpSpPr>
          <a:xfrm>
            <a:off x="407459" y="6457261"/>
            <a:ext cx="1498506" cy="192755"/>
            <a:chOff x="611188" y="9429750"/>
            <a:chExt cx="3412172" cy="438912"/>
          </a:xfrm>
        </p:grpSpPr>
        <p:pic>
          <p:nvPicPr>
            <p:cNvPr id="12" name="Graphic 11">
              <a:extLst>
                <a:ext uri="{FF2B5EF4-FFF2-40B4-BE49-F238E27FC236}">
                  <a16:creationId xmlns:a16="http://schemas.microsoft.com/office/drawing/2014/main" id="{165D9AA2-9AB1-76AB-F5D3-EBF7986533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13" name="MS logo gray - EMF" descr="Microsoft logo, gray text version">
              <a:extLst>
                <a:ext uri="{FF2B5EF4-FFF2-40B4-BE49-F238E27FC236}">
                  <a16:creationId xmlns:a16="http://schemas.microsoft.com/office/drawing/2014/main" id="{29E5D1E5-F101-4D9A-DE1A-457A899D3CA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271402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mage Slide - Bottom Ble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1233488"/>
            <a:ext cx="11425691" cy="230346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0" y="3657600"/>
            <a:ext cx="12192000" cy="32004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9A9B30F0-B420-302D-8CEF-02C8288C8771}"/>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8146F4CF-14BB-F3F6-584A-BCA6F58E5E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F17CBE58-DCF4-FBC7-891D-485F1390846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46355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Image Slide - Left Hal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6136746" y="421961"/>
            <a:ext cx="567131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6136746" y="1233488"/>
            <a:ext cx="5671318" cy="505301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2" y="0"/>
            <a:ext cx="6050555" cy="68580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8B3461A3-BFCA-3BE9-651A-B2B1412B3CF4}"/>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EA7030AB-75F7-062A-EC30-D7D2A48850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7ADE52E8-5547-49BD-37F0-6BB59274C1D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31641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mage Slide - Left Third with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4221755" y="421961"/>
            <a:ext cx="758630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2" y="0"/>
            <a:ext cx="4130863" cy="68580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D9304D50-68BE-C862-390C-459C9C06D8E7}"/>
              </a:ext>
            </a:extLst>
          </p:cNvPr>
          <p:cNvGrpSpPr>
            <a:grpSpLocks/>
          </p:cNvGrpSpPr>
          <p:nvPr userDrawn="1"/>
        </p:nvGrpSpPr>
        <p:grpSpPr>
          <a:xfrm>
            <a:off x="4221758" y="1312090"/>
            <a:ext cx="1278749" cy="1295399"/>
            <a:chOff x="8485195" y="4484505"/>
            <a:chExt cx="1317610" cy="1317990"/>
          </a:xfrm>
        </p:grpSpPr>
        <p:sp>
          <p:nvSpPr>
            <p:cNvPr id="15" name="Oval 14">
              <a:extLst>
                <a:ext uri="{FF2B5EF4-FFF2-40B4-BE49-F238E27FC236}">
                  <a16:creationId xmlns:a16="http://schemas.microsoft.com/office/drawing/2014/main" id="{BD7813AB-6BC8-1976-4758-8373A4737DC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9EB13129-2DF4-F81A-50B9-166695B1C0D4}"/>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1" name="Group 30">
            <a:extLst>
              <a:ext uri="{FF2B5EF4-FFF2-40B4-BE49-F238E27FC236}">
                <a16:creationId xmlns:a16="http://schemas.microsoft.com/office/drawing/2014/main" id="{997826C1-2863-AEBB-568A-747C62C1D836}"/>
              </a:ext>
            </a:extLst>
          </p:cNvPr>
          <p:cNvGrpSpPr>
            <a:grpSpLocks/>
          </p:cNvGrpSpPr>
          <p:nvPr userDrawn="1"/>
        </p:nvGrpSpPr>
        <p:grpSpPr>
          <a:xfrm>
            <a:off x="4221758" y="4991105"/>
            <a:ext cx="1278749" cy="1295399"/>
            <a:chOff x="8485195" y="4484505"/>
            <a:chExt cx="1317610" cy="1317990"/>
          </a:xfrm>
        </p:grpSpPr>
        <p:sp>
          <p:nvSpPr>
            <p:cNvPr id="32" name="Oval 31">
              <a:extLst>
                <a:ext uri="{FF2B5EF4-FFF2-40B4-BE49-F238E27FC236}">
                  <a16:creationId xmlns:a16="http://schemas.microsoft.com/office/drawing/2014/main" id="{C8379EC4-6167-8BD4-2AFA-E199597B8186}"/>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9E992F7-5A05-C0BF-D4EC-5067AFD9307B}"/>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28" name="Group 27">
            <a:extLst>
              <a:ext uri="{FF2B5EF4-FFF2-40B4-BE49-F238E27FC236}">
                <a16:creationId xmlns:a16="http://schemas.microsoft.com/office/drawing/2014/main" id="{484B25A6-7EF0-2637-4D97-71C5B3C99B83}"/>
              </a:ext>
            </a:extLst>
          </p:cNvPr>
          <p:cNvGrpSpPr>
            <a:grpSpLocks/>
          </p:cNvGrpSpPr>
          <p:nvPr userDrawn="1"/>
        </p:nvGrpSpPr>
        <p:grpSpPr>
          <a:xfrm>
            <a:off x="4221758" y="3106593"/>
            <a:ext cx="1278749" cy="1295399"/>
            <a:chOff x="8485195" y="4484505"/>
            <a:chExt cx="1317610" cy="1317990"/>
          </a:xfrm>
        </p:grpSpPr>
        <p:sp>
          <p:nvSpPr>
            <p:cNvPr id="29" name="Oval 28">
              <a:extLst>
                <a:ext uri="{FF2B5EF4-FFF2-40B4-BE49-F238E27FC236}">
                  <a16:creationId xmlns:a16="http://schemas.microsoft.com/office/drawing/2014/main" id="{E97E19B9-6B24-517D-2C92-FD2EEDF43331}"/>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5C9E115-713D-B437-54AB-80F11579814B}"/>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5729300" y="1805901"/>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5" name="Text Placeholder 3">
            <a:extLst>
              <a:ext uri="{FF2B5EF4-FFF2-40B4-BE49-F238E27FC236}">
                <a16:creationId xmlns:a16="http://schemas.microsoft.com/office/drawing/2014/main" id="{AD6A940B-8E8F-DE80-D847-4868CCF37A58}"/>
              </a:ext>
            </a:extLst>
          </p:cNvPr>
          <p:cNvSpPr>
            <a:spLocks noGrp="1"/>
          </p:cNvSpPr>
          <p:nvPr>
            <p:ph type="body" sz="quarter" idx="15"/>
          </p:nvPr>
        </p:nvSpPr>
        <p:spPr>
          <a:xfrm>
            <a:off x="5729300" y="3645410"/>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6" name="Text Placeholder 3">
            <a:extLst>
              <a:ext uri="{FF2B5EF4-FFF2-40B4-BE49-F238E27FC236}">
                <a16:creationId xmlns:a16="http://schemas.microsoft.com/office/drawing/2014/main" id="{27D1FB32-979F-8496-940F-8DF9B46EAB6B}"/>
              </a:ext>
            </a:extLst>
          </p:cNvPr>
          <p:cNvSpPr>
            <a:spLocks noGrp="1"/>
          </p:cNvSpPr>
          <p:nvPr>
            <p:ph type="body" sz="quarter" idx="16"/>
          </p:nvPr>
        </p:nvSpPr>
        <p:spPr>
          <a:xfrm>
            <a:off x="5729300" y="5484916"/>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5" name="Group 4">
            <a:extLst>
              <a:ext uri="{FF2B5EF4-FFF2-40B4-BE49-F238E27FC236}">
                <a16:creationId xmlns:a16="http://schemas.microsoft.com/office/drawing/2014/main" id="{336F3977-DD6E-C342-8AEB-374682062A01}"/>
              </a:ext>
            </a:extLst>
          </p:cNvPr>
          <p:cNvGrpSpPr/>
          <p:nvPr userDrawn="1"/>
        </p:nvGrpSpPr>
        <p:grpSpPr>
          <a:xfrm>
            <a:off x="407459" y="6457261"/>
            <a:ext cx="1498506" cy="192755"/>
            <a:chOff x="611188" y="9429750"/>
            <a:chExt cx="3412172" cy="438912"/>
          </a:xfrm>
        </p:grpSpPr>
        <p:pic>
          <p:nvPicPr>
            <p:cNvPr id="6" name="Graphic 5">
              <a:extLst>
                <a:ext uri="{FF2B5EF4-FFF2-40B4-BE49-F238E27FC236}">
                  <a16:creationId xmlns:a16="http://schemas.microsoft.com/office/drawing/2014/main" id="{E1C5C42D-E386-802C-9BDE-388377655F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7" name="MS logo gray - EMF" descr="Microsoft logo, gray text version">
              <a:extLst>
                <a:ext uri="{FF2B5EF4-FFF2-40B4-BE49-F238E27FC236}">
                  <a16:creationId xmlns:a16="http://schemas.microsoft.com/office/drawing/2014/main" id="{6F455533-F7F4-F4D6-5BCA-C60EB0BB4CE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786947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hart Slide - Half">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08" y="3657536"/>
            <a:ext cx="5668184" cy="410433"/>
          </a:xfrm>
          <a:prstGeom prst="rect">
            <a:avLst/>
          </a:prstGeom>
        </p:spPr>
        <p:txBody>
          <a:bodyPr wrap="square" lIns="0" tIns="0" rIns="0" bIns="0" anchor="b" anchorCtr="0">
            <a:spAutoFit/>
          </a:bodyPr>
          <a:lstStyle>
            <a:lvl1pPr marL="0" indent="0" algn="l">
              <a:buNone/>
              <a:defRPr lang="en-US" sz="2667" b="0" kern="1200" cap="none" spc="-21" baseline="0" dirty="0" smtClean="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vl2pPr marL="361060" indent="0">
              <a:buNone/>
              <a:defRPr/>
            </a:lvl2pPr>
            <a:lvl3pPr marL="722119" indent="0">
              <a:buNone/>
              <a:defRPr/>
            </a:lvl3pPr>
            <a:lvl4pPr marL="1045570" indent="0">
              <a:buNone/>
              <a:defRPr/>
            </a:lvl4pPr>
            <a:lvl5pPr marL="1351468" indent="0">
              <a:buNone/>
              <a:defRPr/>
            </a:lvl5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ext styles</a:t>
            </a:r>
          </a:p>
        </p:txBody>
      </p:sp>
      <p:sp>
        <p:nvSpPr>
          <p:cNvPr id="28" name="Chart Placeholder 4">
            <a:extLst>
              <a:ext uri="{FF2B5EF4-FFF2-40B4-BE49-F238E27FC236}">
                <a16:creationId xmlns:a16="http://schemas.microsoft.com/office/drawing/2014/main" id="{E4CDC734-ED0F-5562-F292-C80AAEB5EEAC}"/>
              </a:ext>
            </a:extLst>
          </p:cNvPr>
          <p:cNvSpPr>
            <a:spLocks noGrp="1"/>
          </p:cNvSpPr>
          <p:nvPr>
            <p:ph type="chart" sz="quarter" idx="10"/>
          </p:nvPr>
        </p:nvSpPr>
        <p:spPr>
          <a:xfrm>
            <a:off x="6141446" y="1233492"/>
            <a:ext cx="5666616" cy="5053011"/>
          </a:xfrm>
          <a:prstGeom prst="rect">
            <a:avLst/>
          </a:prstGeom>
        </p:spPr>
        <p:txBody>
          <a:bodyPr/>
          <a:lstStyle>
            <a:lvl1pPr>
              <a:defRPr>
                <a:solidFill>
                  <a:srgbClr val="2A446F"/>
                </a:solidFill>
              </a:defRPr>
            </a:lvl1pPr>
          </a:lstStyle>
          <a:p>
            <a:r>
              <a:rPr lang="en-US"/>
              <a:t>Click icon to add chart</a:t>
            </a:r>
            <a:endParaRPr lang="en-GB"/>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4255755"/>
            <a:ext cx="5668184"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B2E67AA0-9F20-C79F-4E4F-F8E86F9E80B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BE38CCD6-8A76-76B0-A95F-51CFCBD237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C461B5D3-CAED-DB7C-3085-EC48B5FFBB0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229877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0CF1C-1AA3-EE80-4144-232E3D2C8F3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3CC8090D-66A7-5D5E-2EBE-556F3CDF9FB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09445A86-0A9A-51A2-AD77-6B3ACA764797}"/>
              </a:ext>
            </a:extLst>
          </p:cNvPr>
          <p:cNvSpPr>
            <a:spLocks noGrp="1"/>
          </p:cNvSpPr>
          <p:nvPr>
            <p:ph type="dt" sz="half" idx="10"/>
          </p:nvPr>
        </p:nvSpPr>
        <p:spPr/>
        <p:txBody>
          <a:bodyPr/>
          <a:lstStyle/>
          <a:p>
            <a:fld id="{92FB6F75-9719-4CAF-902B-951CCB2FE4BC}" type="datetimeFigureOut">
              <a:rPr lang="en-GB" smtClean="0"/>
              <a:t>15/05/2025</a:t>
            </a:fld>
            <a:endParaRPr lang="en-GB"/>
          </a:p>
        </p:txBody>
      </p:sp>
      <p:sp>
        <p:nvSpPr>
          <p:cNvPr id="5" name="Footer Placeholder 4">
            <a:extLst>
              <a:ext uri="{FF2B5EF4-FFF2-40B4-BE49-F238E27FC236}">
                <a16:creationId xmlns:a16="http://schemas.microsoft.com/office/drawing/2014/main" id="{5860880A-03B0-8F6F-4DF5-F7FD47AD2BD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6DAB27E-E323-1F25-B562-FD9D6B3704BA}"/>
              </a:ext>
            </a:extLst>
          </p:cNvPr>
          <p:cNvSpPr>
            <a:spLocks noGrp="1"/>
          </p:cNvSpPr>
          <p:nvPr>
            <p:ph type="sldNum" sz="quarter" idx="12"/>
          </p:nvPr>
        </p:nvSpPr>
        <p:spPr/>
        <p:txBody>
          <a:bodyPr/>
          <a:lstStyle/>
          <a:p>
            <a:fld id="{F29889FA-A085-4D8D-B485-D4895BB00615}" type="slidenum">
              <a:rPr lang="en-GB" smtClean="0"/>
              <a:t>‹#›</a:t>
            </a:fld>
            <a:endParaRPr lang="en-GB"/>
          </a:p>
        </p:txBody>
      </p:sp>
    </p:spTree>
    <p:extLst>
      <p:ext uri="{BB962C8B-B14F-4D97-AF65-F5344CB8AC3E}">
        <p14:creationId xmlns:p14="http://schemas.microsoft.com/office/powerpoint/2010/main" val="41678698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hart Slide 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4" y="3154576"/>
            <a:ext cx="3748491" cy="820866"/>
          </a:xfrm>
          <a:prstGeom prst="rect">
            <a:avLst/>
          </a:prstGeom>
        </p:spPr>
        <p:txBody>
          <a:bodyPr wrap="square" lIns="0" tIns="0" rIns="0" bIns="0" anchor="b" anchorCtr="0">
            <a:spAutoFit/>
          </a:bodyPr>
          <a:lstStyle>
            <a:lvl1pPr>
              <a:defRPr lang="en-US" sz="2667" b="0" kern="1200" cap="none" spc="-21" baseline="0" dirty="0" smtClean="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ext styles</a:t>
            </a:r>
          </a:p>
        </p:txBody>
      </p:sp>
      <p:sp>
        <p:nvSpPr>
          <p:cNvPr id="28" name="Chart Placeholder 4">
            <a:extLst>
              <a:ext uri="{FF2B5EF4-FFF2-40B4-BE49-F238E27FC236}">
                <a16:creationId xmlns:a16="http://schemas.microsoft.com/office/drawing/2014/main" id="{E4CDC734-ED0F-5562-F292-C80AAEB5EEAC}"/>
              </a:ext>
            </a:extLst>
          </p:cNvPr>
          <p:cNvSpPr>
            <a:spLocks noGrp="1"/>
          </p:cNvSpPr>
          <p:nvPr>
            <p:ph type="chart" sz="quarter" idx="10"/>
          </p:nvPr>
        </p:nvSpPr>
        <p:spPr>
          <a:xfrm>
            <a:off x="4221754" y="1233492"/>
            <a:ext cx="7586308" cy="5053011"/>
          </a:xfrm>
          <a:prstGeom prst="rect">
            <a:avLst/>
          </a:prstGeom>
        </p:spPr>
        <p:txBody>
          <a:bodyPr/>
          <a:lstStyle>
            <a:lvl1pPr>
              <a:defRPr>
                <a:solidFill>
                  <a:srgbClr val="2A446F"/>
                </a:solidFill>
              </a:defRPr>
            </a:lvl1pPr>
          </a:lstStyle>
          <a:p>
            <a:r>
              <a:rPr lang="en-US"/>
              <a:t>Click icon to add chart</a:t>
            </a:r>
            <a:endParaRPr lang="en-GB"/>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4" y="4255755"/>
            <a:ext cx="3748491" cy="307777"/>
          </a:xfrm>
          <a:prstGeom prst="rect">
            <a:avLst/>
          </a:prstGeom>
        </p:spPr>
        <p:txBody>
          <a:bodyPr wrap="square" lIns="0" tIns="0" rIns="0" bIns="0" anchor="t" anchorCtr="0">
            <a:spAutoFit/>
          </a:bodyPr>
          <a:lstStyle>
            <a:lvl1pPr marL="0" indent="0" algn="l">
              <a:buNone/>
              <a:defRPr lang="en-US" sz="2000" kern="1200" spc="0" baseline="0" dirty="0" smtClean="0">
                <a:solidFill>
                  <a:srgbClr val="2A446F"/>
                </a:solidFill>
                <a:latin typeface="+mn-lt"/>
                <a:ea typeface="+mn-ea"/>
                <a:cs typeface="Segoe UI" panose="020B0502040204020203" pitchFamily="34" charset="0"/>
              </a:defRPr>
            </a:lvl1pPr>
            <a:lvl2pPr marL="361060" indent="0">
              <a:buNone/>
              <a:defRPr/>
            </a:lvl2pPr>
            <a:lvl3pPr marL="722119" indent="0">
              <a:buNone/>
              <a:defRPr/>
            </a:lvl3pPr>
            <a:lvl4pPr marL="1045570" indent="0">
              <a:buNone/>
              <a:defRPr/>
            </a:lvl4pPr>
            <a:lvl5pPr marL="1351468" indent="0">
              <a:buNone/>
              <a:defRPr/>
            </a:lvl5pPr>
          </a:lstStyle>
          <a:p>
            <a:pPr marL="0" marR="0" lvl="0" indent="0" algn="l" defTabSz="373183"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grpSp>
        <p:nvGrpSpPr>
          <p:cNvPr id="3" name="Group 2">
            <a:extLst>
              <a:ext uri="{FF2B5EF4-FFF2-40B4-BE49-F238E27FC236}">
                <a16:creationId xmlns:a16="http://schemas.microsoft.com/office/drawing/2014/main" id="{9156FECA-7FB1-206B-2FE0-2DA36DD8C415}"/>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FCD5BC36-E170-2D22-C37B-F1B47DCE91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CDAEED7-27C1-32D9-BF71-DC2AB71738B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61486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hart slide - Mini Charts/donu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3"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3"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6" name="Text Placeholder 3">
            <a:extLst>
              <a:ext uri="{FF2B5EF4-FFF2-40B4-BE49-F238E27FC236}">
                <a16:creationId xmlns:a16="http://schemas.microsoft.com/office/drawing/2014/main" id="{FD1CD866-91BF-97CA-8C28-F9B755E9B45C}"/>
              </a:ext>
            </a:extLst>
          </p:cNvPr>
          <p:cNvSpPr>
            <a:spLocks noGrp="1"/>
          </p:cNvSpPr>
          <p:nvPr>
            <p:ph type="body" sz="quarter" idx="15"/>
          </p:nvPr>
        </p:nvSpPr>
        <p:spPr>
          <a:xfrm>
            <a:off x="3261649"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7" name="Text Placeholder 3">
            <a:extLst>
              <a:ext uri="{FF2B5EF4-FFF2-40B4-BE49-F238E27FC236}">
                <a16:creationId xmlns:a16="http://schemas.microsoft.com/office/drawing/2014/main" id="{EFA98941-6D77-1B2E-C54C-40BBE261C18E}"/>
              </a:ext>
            </a:extLst>
          </p:cNvPr>
          <p:cNvSpPr>
            <a:spLocks noGrp="1"/>
          </p:cNvSpPr>
          <p:nvPr>
            <p:ph type="body" sz="quarter" idx="16"/>
          </p:nvPr>
        </p:nvSpPr>
        <p:spPr>
          <a:xfrm>
            <a:off x="3261649"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4201D11C-D3B4-5FDF-4C51-D95247349A8A}"/>
              </a:ext>
            </a:extLst>
          </p:cNvPr>
          <p:cNvSpPr>
            <a:spLocks noGrp="1"/>
          </p:cNvSpPr>
          <p:nvPr>
            <p:ph type="body" sz="quarter" idx="19"/>
          </p:nvPr>
        </p:nvSpPr>
        <p:spPr>
          <a:xfrm>
            <a:off x="9020202"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11" name="Text Placeholder 3">
            <a:extLst>
              <a:ext uri="{FF2B5EF4-FFF2-40B4-BE49-F238E27FC236}">
                <a16:creationId xmlns:a16="http://schemas.microsoft.com/office/drawing/2014/main" id="{00C71881-9BA5-005B-9FB7-6157FC8C2243}"/>
              </a:ext>
            </a:extLst>
          </p:cNvPr>
          <p:cNvSpPr>
            <a:spLocks noGrp="1"/>
          </p:cNvSpPr>
          <p:nvPr>
            <p:ph type="body" sz="quarter" idx="20"/>
          </p:nvPr>
        </p:nvSpPr>
        <p:spPr>
          <a:xfrm>
            <a:off x="9020202"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Chart Placeholder 4">
            <a:extLst>
              <a:ext uri="{FF2B5EF4-FFF2-40B4-BE49-F238E27FC236}">
                <a16:creationId xmlns:a16="http://schemas.microsoft.com/office/drawing/2014/main" id="{03801979-7E72-B137-E06C-BDA4A04BB8D2}"/>
              </a:ext>
            </a:extLst>
          </p:cNvPr>
          <p:cNvSpPr>
            <a:spLocks noGrp="1"/>
          </p:cNvSpPr>
          <p:nvPr>
            <p:ph type="chart" sz="quarter" idx="10"/>
          </p:nvPr>
        </p:nvSpPr>
        <p:spPr>
          <a:xfrm>
            <a:off x="382373"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3" name="Chart Placeholder 4">
            <a:extLst>
              <a:ext uri="{FF2B5EF4-FFF2-40B4-BE49-F238E27FC236}">
                <a16:creationId xmlns:a16="http://schemas.microsoft.com/office/drawing/2014/main" id="{5DCE8D6B-2201-1ECE-C73F-BF7BB43685AA}"/>
              </a:ext>
            </a:extLst>
          </p:cNvPr>
          <p:cNvSpPr>
            <a:spLocks noGrp="1"/>
          </p:cNvSpPr>
          <p:nvPr>
            <p:ph type="chart" sz="quarter" idx="21"/>
          </p:nvPr>
        </p:nvSpPr>
        <p:spPr>
          <a:xfrm>
            <a:off x="3261126"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4" name="Chart Placeholder 4">
            <a:extLst>
              <a:ext uri="{FF2B5EF4-FFF2-40B4-BE49-F238E27FC236}">
                <a16:creationId xmlns:a16="http://schemas.microsoft.com/office/drawing/2014/main" id="{F1FA6097-F119-5925-F86A-6F566E330260}"/>
              </a:ext>
            </a:extLst>
          </p:cNvPr>
          <p:cNvSpPr>
            <a:spLocks noGrp="1"/>
          </p:cNvSpPr>
          <p:nvPr>
            <p:ph type="chart" sz="quarter" idx="22"/>
          </p:nvPr>
        </p:nvSpPr>
        <p:spPr>
          <a:xfrm>
            <a:off x="6139879"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5" name="Chart Placeholder 4">
            <a:extLst>
              <a:ext uri="{FF2B5EF4-FFF2-40B4-BE49-F238E27FC236}">
                <a16:creationId xmlns:a16="http://schemas.microsoft.com/office/drawing/2014/main" id="{D893C9BF-138B-E8FA-38D2-1C7DBD159E93}"/>
              </a:ext>
            </a:extLst>
          </p:cNvPr>
          <p:cNvSpPr>
            <a:spLocks noGrp="1"/>
          </p:cNvSpPr>
          <p:nvPr>
            <p:ph type="chart" sz="quarter" idx="23"/>
          </p:nvPr>
        </p:nvSpPr>
        <p:spPr>
          <a:xfrm>
            <a:off x="9018634"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grpSp>
        <p:nvGrpSpPr>
          <p:cNvPr id="3" name="Group 2">
            <a:extLst>
              <a:ext uri="{FF2B5EF4-FFF2-40B4-BE49-F238E27FC236}">
                <a16:creationId xmlns:a16="http://schemas.microsoft.com/office/drawing/2014/main" id="{52A03BA7-2FDF-86F9-320C-CEBFEB45AA64}"/>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1BB8273-59AE-C6E6-C847-D33ADD6635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4A56BFED-ED4F-B553-564C-E07C22D5D43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196939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hart Slide - Side by Side 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2" y="4732539"/>
            <a:ext cx="5668182" cy="430887"/>
          </a:xfrm>
          <a:prstGeom prst="rect">
            <a:avLst/>
          </a:prstGeom>
        </p:spPr>
        <p:txBody>
          <a:bodyPr wrap="square" lIns="0" tIns="0" rIns="0" bIns="0" anchor="b" anchorCtr="0">
            <a:spAutoFit/>
          </a:bodyPr>
          <a:lstStyle>
            <a:lvl1pPr>
              <a:defRPr lang="en-GB" sz="2800" dirty="0">
                <a:solidFill>
                  <a:srgbClr val="2A446F"/>
                </a:solidFill>
                <a:latin typeface="+mj-lt"/>
              </a:defRPr>
            </a:lvl1pPr>
          </a:lstStyle>
          <a:p>
            <a:pPr marL="0" lvl="0" indent="0">
              <a:buNone/>
            </a:pPr>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5316740"/>
            <a:ext cx="5668182" cy="307777"/>
          </a:xfrm>
          <a:prstGeom prst="rect">
            <a:avLst/>
          </a:prstGeom>
        </p:spPr>
        <p:txBody>
          <a:bodyPr wrap="square" lIns="0" tIns="0" rIns="0" bIns="0" anchor="b" anchorCtr="0">
            <a:spAutoFit/>
          </a:bodyPr>
          <a:lstStyle>
            <a:lvl1pPr>
              <a:defRPr lang="en-GB" sz="2000" dirty="0">
                <a:solidFill>
                  <a:srgbClr val="2A446F"/>
                </a:solidFill>
                <a:latin typeface="+mn-lt"/>
              </a:defRPr>
            </a:lvl1pPr>
          </a:lstStyle>
          <a:p>
            <a:pPr marL="0" lvl="0" indent="0">
              <a:buNone/>
            </a:pPr>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4732539"/>
            <a:ext cx="5668182" cy="430887"/>
          </a:xfrm>
          <a:prstGeom prst="rect">
            <a:avLst/>
          </a:prstGeom>
        </p:spPr>
        <p:txBody>
          <a:bodyPr wrap="square" lIns="0" tIns="0" rIns="0" bIns="0" anchor="b" anchorCtr="0">
            <a:spAutoFit/>
          </a:bodyPr>
          <a:lstStyle>
            <a:lvl1pPr>
              <a:defRPr lang="en-GB" sz="2800" dirty="0">
                <a:solidFill>
                  <a:srgbClr val="2A446F"/>
                </a:solidFill>
                <a:latin typeface="+mj-lt"/>
              </a:defRPr>
            </a:lvl1pPr>
          </a:lstStyle>
          <a:p>
            <a:pPr marL="0" lvl="0" indent="0">
              <a:buNone/>
            </a:pPr>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5316740"/>
            <a:ext cx="5668182" cy="307777"/>
          </a:xfrm>
          <a:prstGeom prst="rect">
            <a:avLst/>
          </a:prstGeom>
        </p:spPr>
        <p:txBody>
          <a:bodyPr wrap="square" lIns="0" tIns="0" rIns="0" bIns="0" anchor="b" anchorCtr="0">
            <a:spAutoFit/>
          </a:bodyPr>
          <a:lstStyle>
            <a:lvl1pPr>
              <a:defRPr lang="en-GB" sz="2000" dirty="0">
                <a:solidFill>
                  <a:srgbClr val="2A446F"/>
                </a:solidFill>
                <a:latin typeface="+mn-lt"/>
              </a:defRPr>
            </a:lvl1pPr>
          </a:lstStyle>
          <a:p>
            <a:pPr marL="0" lvl="0" indent="0">
              <a:buNone/>
            </a:pPr>
            <a:r>
              <a:rPr lang="en-US"/>
              <a:t>Click to edit Master text styles</a:t>
            </a:r>
          </a:p>
        </p:txBody>
      </p:sp>
      <p:sp>
        <p:nvSpPr>
          <p:cNvPr id="12" name="Chart Placeholder 4">
            <a:extLst>
              <a:ext uri="{FF2B5EF4-FFF2-40B4-BE49-F238E27FC236}">
                <a16:creationId xmlns:a16="http://schemas.microsoft.com/office/drawing/2014/main" id="{03801979-7E72-B137-E06C-BDA4A04BB8D2}"/>
              </a:ext>
            </a:extLst>
          </p:cNvPr>
          <p:cNvSpPr>
            <a:spLocks noGrp="1"/>
          </p:cNvSpPr>
          <p:nvPr>
            <p:ph type="chart" sz="quarter" idx="10"/>
          </p:nvPr>
        </p:nvSpPr>
        <p:spPr>
          <a:xfrm>
            <a:off x="382372" y="1233488"/>
            <a:ext cx="5668182" cy="3249612"/>
          </a:xfrm>
          <a:prstGeom prst="rect">
            <a:avLst/>
          </a:prstGeom>
        </p:spPr>
        <p:txBody>
          <a:bodyPr/>
          <a:lstStyle>
            <a:lvl1pPr>
              <a:defRPr>
                <a:solidFill>
                  <a:srgbClr val="2A446F"/>
                </a:solidFill>
              </a:defRPr>
            </a:lvl1pPr>
          </a:lstStyle>
          <a:p>
            <a:r>
              <a:rPr lang="en-US"/>
              <a:t>Click icon to add chart</a:t>
            </a:r>
            <a:endParaRPr lang="en-GB"/>
          </a:p>
        </p:txBody>
      </p:sp>
      <p:sp>
        <p:nvSpPr>
          <p:cNvPr id="14" name="Chart Placeholder 4">
            <a:extLst>
              <a:ext uri="{FF2B5EF4-FFF2-40B4-BE49-F238E27FC236}">
                <a16:creationId xmlns:a16="http://schemas.microsoft.com/office/drawing/2014/main" id="{F1FA6097-F119-5925-F86A-6F566E330260}"/>
              </a:ext>
            </a:extLst>
          </p:cNvPr>
          <p:cNvSpPr>
            <a:spLocks noGrp="1"/>
          </p:cNvSpPr>
          <p:nvPr>
            <p:ph type="chart" sz="quarter" idx="22"/>
          </p:nvPr>
        </p:nvSpPr>
        <p:spPr>
          <a:xfrm>
            <a:off x="6139878" y="1233488"/>
            <a:ext cx="5668182" cy="3249612"/>
          </a:xfrm>
          <a:prstGeom prst="rect">
            <a:avLst/>
          </a:prstGeom>
        </p:spPr>
        <p:txBody>
          <a:bodyPr/>
          <a:lstStyle>
            <a:lvl1pPr>
              <a:defRPr>
                <a:solidFill>
                  <a:srgbClr val="2A446F"/>
                </a:solidFill>
              </a:defRPr>
            </a:lvl1pPr>
          </a:lstStyle>
          <a:p>
            <a:r>
              <a:rPr lang="en-US"/>
              <a:t>Click icon to add chart</a:t>
            </a:r>
            <a:endParaRPr lang="en-GB"/>
          </a:p>
        </p:txBody>
      </p:sp>
      <p:grpSp>
        <p:nvGrpSpPr>
          <p:cNvPr id="3" name="Group 2">
            <a:extLst>
              <a:ext uri="{FF2B5EF4-FFF2-40B4-BE49-F238E27FC236}">
                <a16:creationId xmlns:a16="http://schemas.microsoft.com/office/drawing/2014/main" id="{2E28F8E9-ABBE-ED41-C504-EDD10352AED6}"/>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13B8BBC8-4DAF-82F0-3812-20C13BC656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A2C6F210-0824-7EF9-EC27-C315CF88FF6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464694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a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2" y="421961"/>
            <a:ext cx="11425454"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grpSp>
        <p:nvGrpSpPr>
          <p:cNvPr id="414" name="Group 413">
            <a:extLst>
              <a:ext uri="{FF2B5EF4-FFF2-40B4-BE49-F238E27FC236}">
                <a16:creationId xmlns:a16="http://schemas.microsoft.com/office/drawing/2014/main" id="{E8A1976C-3BD5-CB1D-8C33-988B33BBBC21}"/>
              </a:ext>
            </a:extLst>
          </p:cNvPr>
          <p:cNvGrpSpPr/>
          <p:nvPr userDrawn="1"/>
        </p:nvGrpSpPr>
        <p:grpSpPr>
          <a:xfrm>
            <a:off x="1138809" y="1328016"/>
            <a:ext cx="9924487" cy="5168604"/>
            <a:chOff x="1708213" y="1992024"/>
            <a:chExt cx="14886731" cy="7752906"/>
          </a:xfrm>
          <a:solidFill>
            <a:schemeClr val="bg1"/>
          </a:solidFill>
          <a:effectLst>
            <a:outerShdw blurRad="215900" dist="38100" dir="8100000" algn="tr" rotWithShape="0">
              <a:prstClr val="black">
                <a:alpha val="14000"/>
              </a:prstClr>
            </a:outerShdw>
          </a:effectLst>
        </p:grpSpPr>
        <p:sp>
          <p:nvSpPr>
            <p:cNvPr id="6" name="Freeform: Shape 5">
              <a:extLst>
                <a:ext uri="{FF2B5EF4-FFF2-40B4-BE49-F238E27FC236}">
                  <a16:creationId xmlns:a16="http://schemas.microsoft.com/office/drawing/2014/main" id="{D7721AF4-6463-C31D-DF8B-09440726B6F4}"/>
                </a:ext>
              </a:extLst>
            </p:cNvPr>
            <p:cNvSpPr/>
            <p:nvPr/>
          </p:nvSpPr>
          <p:spPr>
            <a:xfrm>
              <a:off x="7962057" y="2252576"/>
              <a:ext cx="8198907" cy="6239648"/>
            </a:xfrm>
            <a:custGeom>
              <a:avLst/>
              <a:gdLst>
                <a:gd name="connsiteX0" fmla="*/ 4129773 w 5624068"/>
                <a:gd name="connsiteY0" fmla="*/ 285409 h 4280108"/>
                <a:gd name="connsiteX1" fmla="*/ 4141307 w 5624068"/>
                <a:gd name="connsiteY1" fmla="*/ 287108 h 4280108"/>
                <a:gd name="connsiteX2" fmla="*/ 4119401 w 5624068"/>
                <a:gd name="connsiteY2" fmla="*/ 304990 h 4280108"/>
                <a:gd name="connsiteX3" fmla="*/ 4166342 w 5624068"/>
                <a:gd name="connsiteY3" fmla="*/ 302039 h 4280108"/>
                <a:gd name="connsiteX4" fmla="*/ 4156507 w 5624068"/>
                <a:gd name="connsiteY4" fmla="*/ 341023 h 4280108"/>
                <a:gd name="connsiteX5" fmla="*/ 4274441 w 5624068"/>
                <a:gd name="connsiteY5" fmla="*/ 309729 h 4280108"/>
                <a:gd name="connsiteX6" fmla="*/ 4279359 w 5624068"/>
                <a:gd name="connsiteY6" fmla="*/ 327343 h 4280108"/>
                <a:gd name="connsiteX7" fmla="*/ 4279537 w 5624068"/>
                <a:gd name="connsiteY7" fmla="*/ 330204 h 4280108"/>
                <a:gd name="connsiteX8" fmla="*/ 4280163 w 5624068"/>
                <a:gd name="connsiteY8" fmla="*/ 344689 h 4280108"/>
                <a:gd name="connsiteX9" fmla="*/ 4298940 w 5624068"/>
                <a:gd name="connsiteY9" fmla="*/ 354166 h 4280108"/>
                <a:gd name="connsiteX10" fmla="*/ 4317716 w 5624068"/>
                <a:gd name="connsiteY10" fmla="*/ 352289 h 4280108"/>
                <a:gd name="connsiteX11" fmla="*/ 4437617 w 5624068"/>
                <a:gd name="connsiteY11" fmla="*/ 362750 h 4280108"/>
                <a:gd name="connsiteX12" fmla="*/ 4474991 w 5624068"/>
                <a:gd name="connsiteY12" fmla="*/ 359352 h 4280108"/>
                <a:gd name="connsiteX13" fmla="*/ 4597395 w 5624068"/>
                <a:gd name="connsiteY13" fmla="*/ 381616 h 4280108"/>
                <a:gd name="connsiteX14" fmla="*/ 4614741 w 5624068"/>
                <a:gd name="connsiteY14" fmla="*/ 409333 h 4280108"/>
                <a:gd name="connsiteX15" fmla="*/ 4663471 w 5624068"/>
                <a:gd name="connsiteY15" fmla="*/ 450910 h 4280108"/>
                <a:gd name="connsiteX16" fmla="*/ 4686092 w 5624068"/>
                <a:gd name="connsiteY16" fmla="*/ 450910 h 4280108"/>
                <a:gd name="connsiteX17" fmla="*/ 4727847 w 5624068"/>
                <a:gd name="connsiteY17" fmla="*/ 449926 h 4280108"/>
                <a:gd name="connsiteX18" fmla="*/ 4820656 w 5624068"/>
                <a:gd name="connsiteY18" fmla="*/ 459583 h 4280108"/>
                <a:gd name="connsiteX19" fmla="*/ 4847748 w 5624068"/>
                <a:gd name="connsiteY19" fmla="*/ 453234 h 4280108"/>
                <a:gd name="connsiteX20" fmla="*/ 4866167 w 5624068"/>
                <a:gd name="connsiteY20" fmla="*/ 467183 h 4280108"/>
                <a:gd name="connsiteX21" fmla="*/ 4917935 w 5624068"/>
                <a:gd name="connsiteY21" fmla="*/ 505182 h 4280108"/>
                <a:gd name="connsiteX22" fmla="*/ 4943776 w 5624068"/>
                <a:gd name="connsiteY22" fmla="*/ 486585 h 4280108"/>
                <a:gd name="connsiteX23" fmla="*/ 4925178 w 5624068"/>
                <a:gd name="connsiteY23" fmla="*/ 463517 h 4280108"/>
                <a:gd name="connsiteX24" fmla="*/ 4935818 w 5624068"/>
                <a:gd name="connsiteY24" fmla="*/ 429093 h 4280108"/>
                <a:gd name="connsiteX25" fmla="*/ 4989108 w 5624068"/>
                <a:gd name="connsiteY25" fmla="*/ 429272 h 4280108"/>
                <a:gd name="connsiteX26" fmla="*/ 5019329 w 5624068"/>
                <a:gd name="connsiteY26" fmla="*/ 449211 h 4280108"/>
                <a:gd name="connsiteX27" fmla="*/ 5049550 w 5624068"/>
                <a:gd name="connsiteY27" fmla="*/ 450641 h 4280108"/>
                <a:gd name="connsiteX28" fmla="*/ 5126444 w 5624068"/>
                <a:gd name="connsiteY28" fmla="*/ 448496 h 4280108"/>
                <a:gd name="connsiteX29" fmla="*/ 5231323 w 5624068"/>
                <a:gd name="connsiteY29" fmla="*/ 480863 h 4280108"/>
                <a:gd name="connsiteX30" fmla="*/ 5269681 w 5624068"/>
                <a:gd name="connsiteY30" fmla="*/ 508938 h 4280108"/>
                <a:gd name="connsiteX31" fmla="*/ 5293643 w 5624068"/>
                <a:gd name="connsiteY31" fmla="*/ 530844 h 4280108"/>
                <a:gd name="connsiteX32" fmla="*/ 5321718 w 5624068"/>
                <a:gd name="connsiteY32" fmla="*/ 563121 h 4280108"/>
                <a:gd name="connsiteX33" fmla="*/ 5370269 w 5624068"/>
                <a:gd name="connsiteY33" fmla="*/ 586636 h 4280108"/>
                <a:gd name="connsiteX34" fmla="*/ 5399595 w 5624068"/>
                <a:gd name="connsiteY34" fmla="*/ 596829 h 4280108"/>
                <a:gd name="connsiteX35" fmla="*/ 5439205 w 5624068"/>
                <a:gd name="connsiteY35" fmla="*/ 617752 h 4280108"/>
                <a:gd name="connsiteX36" fmla="*/ 5451455 w 5624068"/>
                <a:gd name="connsiteY36" fmla="*/ 642876 h 4280108"/>
                <a:gd name="connsiteX37" fmla="*/ 5460664 w 5624068"/>
                <a:gd name="connsiteY37" fmla="*/ 686062 h 4280108"/>
                <a:gd name="connsiteX38" fmla="*/ 5468533 w 5624068"/>
                <a:gd name="connsiteY38" fmla="*/ 651996 h 4280108"/>
                <a:gd name="connsiteX39" fmla="*/ 5483822 w 5624068"/>
                <a:gd name="connsiteY39" fmla="*/ 658344 h 4280108"/>
                <a:gd name="connsiteX40" fmla="*/ 5510020 w 5624068"/>
                <a:gd name="connsiteY40" fmla="*/ 659060 h 4280108"/>
                <a:gd name="connsiteX41" fmla="*/ 5617403 w 5624068"/>
                <a:gd name="connsiteY41" fmla="*/ 713243 h 4280108"/>
                <a:gd name="connsiteX42" fmla="*/ 5618654 w 5624068"/>
                <a:gd name="connsiteY42" fmla="*/ 735864 h 4280108"/>
                <a:gd name="connsiteX43" fmla="*/ 5545247 w 5624068"/>
                <a:gd name="connsiteY43" fmla="*/ 776189 h 4280108"/>
                <a:gd name="connsiteX44" fmla="*/ 5543012 w 5624068"/>
                <a:gd name="connsiteY44" fmla="*/ 787187 h 4280108"/>
                <a:gd name="connsiteX45" fmla="*/ 5535233 w 5624068"/>
                <a:gd name="connsiteY45" fmla="*/ 839582 h 4280108"/>
                <a:gd name="connsiteX46" fmla="*/ 5466476 w 5624068"/>
                <a:gd name="connsiteY46" fmla="*/ 814457 h 4280108"/>
                <a:gd name="connsiteX47" fmla="*/ 5439295 w 5624068"/>
                <a:gd name="connsiteY47" fmla="*/ 803728 h 4280108"/>
                <a:gd name="connsiteX48" fmla="*/ 5395214 w 5624068"/>
                <a:gd name="connsiteY48" fmla="*/ 770198 h 4280108"/>
                <a:gd name="connsiteX49" fmla="*/ 5372326 w 5624068"/>
                <a:gd name="connsiteY49" fmla="*/ 749991 h 4280108"/>
                <a:gd name="connsiteX50" fmla="*/ 5326993 w 5624068"/>
                <a:gd name="connsiteY50" fmla="*/ 735685 h 4280108"/>
                <a:gd name="connsiteX51" fmla="*/ 5329855 w 5624068"/>
                <a:gd name="connsiteY51" fmla="*/ 699295 h 4280108"/>
                <a:gd name="connsiteX52" fmla="*/ 5309111 w 5624068"/>
                <a:gd name="connsiteY52" fmla="*/ 692231 h 4280108"/>
                <a:gd name="connsiteX53" fmla="*/ 5294359 w 5624068"/>
                <a:gd name="connsiteY53" fmla="*/ 715210 h 4280108"/>
                <a:gd name="connsiteX54" fmla="*/ 5228463 w 5624068"/>
                <a:gd name="connsiteY54" fmla="*/ 788975 h 4280108"/>
                <a:gd name="connsiteX55" fmla="*/ 5209060 w 5624068"/>
                <a:gd name="connsiteY55" fmla="*/ 789511 h 4280108"/>
                <a:gd name="connsiteX56" fmla="*/ 5187243 w 5624068"/>
                <a:gd name="connsiteY56" fmla="*/ 786739 h 4280108"/>
                <a:gd name="connsiteX57" fmla="*/ 5202175 w 5624068"/>
                <a:gd name="connsiteY57" fmla="*/ 791836 h 4280108"/>
                <a:gd name="connsiteX58" fmla="*/ 5207987 w 5624068"/>
                <a:gd name="connsiteY58" fmla="*/ 798184 h 4280108"/>
                <a:gd name="connsiteX59" fmla="*/ 5210491 w 5624068"/>
                <a:gd name="connsiteY59" fmla="*/ 807125 h 4280108"/>
                <a:gd name="connsiteX60" fmla="*/ 5251710 w 5624068"/>
                <a:gd name="connsiteY60" fmla="*/ 841996 h 4280108"/>
                <a:gd name="connsiteX61" fmla="*/ 5290514 w 5624068"/>
                <a:gd name="connsiteY61" fmla="*/ 890278 h 4280108"/>
                <a:gd name="connsiteX62" fmla="*/ 5303211 w 5624068"/>
                <a:gd name="connsiteY62" fmla="*/ 911469 h 4280108"/>
                <a:gd name="connsiteX63" fmla="*/ 5278085 w 5624068"/>
                <a:gd name="connsiteY63" fmla="*/ 925238 h 4280108"/>
                <a:gd name="connsiteX64" fmla="*/ 5151747 w 5624068"/>
                <a:gd name="connsiteY64" fmla="*/ 949021 h 4280108"/>
                <a:gd name="connsiteX65" fmla="*/ 5064214 w 5624068"/>
                <a:gd name="connsiteY65" fmla="*/ 1012057 h 4280108"/>
                <a:gd name="connsiteX66" fmla="*/ 5045080 w 5624068"/>
                <a:gd name="connsiteY66" fmla="*/ 1033962 h 4280108"/>
                <a:gd name="connsiteX67" fmla="*/ 5006453 w 5624068"/>
                <a:gd name="connsiteY67" fmla="*/ 1033426 h 4280108"/>
                <a:gd name="connsiteX68" fmla="*/ 4943419 w 5624068"/>
                <a:gd name="connsiteY68" fmla="*/ 1025290 h 4280108"/>
                <a:gd name="connsiteX69" fmla="*/ 4897550 w 5624068"/>
                <a:gd name="connsiteY69" fmla="*/ 1024574 h 4280108"/>
                <a:gd name="connsiteX70" fmla="*/ 4896567 w 5624068"/>
                <a:gd name="connsiteY70" fmla="*/ 1022518 h 4280108"/>
                <a:gd name="connsiteX71" fmla="*/ 4825842 w 5624068"/>
                <a:gd name="connsiteY71" fmla="*/ 1033247 h 4280108"/>
                <a:gd name="connsiteX72" fmla="*/ 4820209 w 5624068"/>
                <a:gd name="connsiteY72" fmla="*/ 1040579 h 4280108"/>
                <a:gd name="connsiteX73" fmla="*/ 4799108 w 5624068"/>
                <a:gd name="connsiteY73" fmla="*/ 1114880 h 4280108"/>
                <a:gd name="connsiteX74" fmla="*/ 4799823 w 5624068"/>
                <a:gd name="connsiteY74" fmla="*/ 1120602 h 4280108"/>
                <a:gd name="connsiteX75" fmla="*/ 4853113 w 5624068"/>
                <a:gd name="connsiteY75" fmla="*/ 1207957 h 4280108"/>
                <a:gd name="connsiteX76" fmla="*/ 4851950 w 5624068"/>
                <a:gd name="connsiteY76" fmla="*/ 1217077 h 4280108"/>
                <a:gd name="connsiteX77" fmla="*/ 4818242 w 5624068"/>
                <a:gd name="connsiteY77" fmla="*/ 1284404 h 4280108"/>
                <a:gd name="connsiteX78" fmla="*/ 4801254 w 5624068"/>
                <a:gd name="connsiteY78" fmla="*/ 1302644 h 4280108"/>
                <a:gd name="connsiteX79" fmla="*/ 4774788 w 5624068"/>
                <a:gd name="connsiteY79" fmla="*/ 1307920 h 4280108"/>
                <a:gd name="connsiteX80" fmla="*/ 4750468 w 5624068"/>
                <a:gd name="connsiteY80" fmla="*/ 1345115 h 4280108"/>
                <a:gd name="connsiteX81" fmla="*/ 4745193 w 5624068"/>
                <a:gd name="connsiteY81" fmla="*/ 1381684 h 4280108"/>
                <a:gd name="connsiteX82" fmla="*/ 4742868 w 5624068"/>
                <a:gd name="connsiteY82" fmla="*/ 1394470 h 4280108"/>
                <a:gd name="connsiteX83" fmla="*/ 4704242 w 5624068"/>
                <a:gd name="connsiteY83" fmla="*/ 1434437 h 4280108"/>
                <a:gd name="connsiteX84" fmla="*/ 4673395 w 5624068"/>
                <a:gd name="connsiteY84" fmla="*/ 1397599 h 4280108"/>
                <a:gd name="connsiteX85" fmla="*/ 4606426 w 5624068"/>
                <a:gd name="connsiteY85" fmla="*/ 1238536 h 4280108"/>
                <a:gd name="connsiteX86" fmla="*/ 4605085 w 5624068"/>
                <a:gd name="connsiteY86" fmla="*/ 1197228 h 4280108"/>
                <a:gd name="connsiteX87" fmla="*/ 4624219 w 5624068"/>
                <a:gd name="connsiteY87" fmla="*/ 1129365 h 4280108"/>
                <a:gd name="connsiteX88" fmla="*/ 4641297 w 5624068"/>
                <a:gd name="connsiteY88" fmla="*/ 1111214 h 4280108"/>
                <a:gd name="connsiteX89" fmla="*/ 4752704 w 5624068"/>
                <a:gd name="connsiteY89" fmla="*/ 995337 h 4280108"/>
                <a:gd name="connsiteX90" fmla="*/ 4774341 w 5624068"/>
                <a:gd name="connsiteY90" fmla="*/ 977007 h 4280108"/>
                <a:gd name="connsiteX91" fmla="*/ 4813056 w 5624068"/>
                <a:gd name="connsiteY91" fmla="*/ 929083 h 4280108"/>
                <a:gd name="connsiteX92" fmla="*/ 4818510 w 5624068"/>
                <a:gd name="connsiteY92" fmla="*/ 903690 h 4280108"/>
                <a:gd name="connsiteX93" fmla="*/ 4828167 w 5624068"/>
                <a:gd name="connsiteY93" fmla="*/ 896090 h 4280108"/>
                <a:gd name="connsiteX94" fmla="*/ 4833531 w 5624068"/>
                <a:gd name="connsiteY94" fmla="*/ 894212 h 4280108"/>
                <a:gd name="connsiteX95" fmla="*/ 4827183 w 5624068"/>
                <a:gd name="connsiteY95" fmla="*/ 893318 h 4280108"/>
                <a:gd name="connsiteX96" fmla="*/ 4801075 w 5624068"/>
                <a:gd name="connsiteY96" fmla="*/ 920767 h 4280108"/>
                <a:gd name="connsiteX97" fmla="*/ 4779080 w 5624068"/>
                <a:gd name="connsiteY97" fmla="*/ 948306 h 4280108"/>
                <a:gd name="connsiteX98" fmla="*/ 4745640 w 5624068"/>
                <a:gd name="connsiteY98" fmla="*/ 970927 h 4280108"/>
                <a:gd name="connsiteX99" fmla="*/ 4708266 w 5624068"/>
                <a:gd name="connsiteY99" fmla="*/ 980941 h 4280108"/>
                <a:gd name="connsiteX100" fmla="*/ 4682426 w 5624068"/>
                <a:gd name="connsiteY100" fmla="*/ 944372 h 4280108"/>
                <a:gd name="connsiteX101" fmla="*/ 4648270 w 5624068"/>
                <a:gd name="connsiteY101" fmla="*/ 921572 h 4280108"/>
                <a:gd name="connsiteX102" fmla="*/ 4584609 w 5624068"/>
                <a:gd name="connsiteY102" fmla="*/ 977454 h 4280108"/>
                <a:gd name="connsiteX103" fmla="*/ 4569946 w 5624068"/>
                <a:gd name="connsiteY103" fmla="*/ 994621 h 4280108"/>
                <a:gd name="connsiteX104" fmla="*/ 4568336 w 5624068"/>
                <a:gd name="connsiteY104" fmla="*/ 1029492 h 4280108"/>
                <a:gd name="connsiteX105" fmla="*/ 4556624 w 5624068"/>
                <a:gd name="connsiteY105" fmla="*/ 1058104 h 4280108"/>
                <a:gd name="connsiteX106" fmla="*/ 4495913 w 5624068"/>
                <a:gd name="connsiteY106" fmla="*/ 1064720 h 4280108"/>
                <a:gd name="connsiteX107" fmla="*/ 4476332 w 5624068"/>
                <a:gd name="connsiteY107" fmla="*/ 1065346 h 4280108"/>
                <a:gd name="connsiteX108" fmla="*/ 4450940 w 5624068"/>
                <a:gd name="connsiteY108" fmla="*/ 1073482 h 4280108"/>
                <a:gd name="connsiteX109" fmla="*/ 4457377 w 5624068"/>
                <a:gd name="connsiteY109" fmla="*/ 1052113 h 4280108"/>
                <a:gd name="connsiteX110" fmla="*/ 4456483 w 5624068"/>
                <a:gd name="connsiteY110" fmla="*/ 1050146 h 4280108"/>
                <a:gd name="connsiteX111" fmla="*/ 4453264 w 5624068"/>
                <a:gd name="connsiteY111" fmla="*/ 1049967 h 4280108"/>
                <a:gd name="connsiteX112" fmla="*/ 4420539 w 5624068"/>
                <a:gd name="connsiteY112" fmla="*/ 1035214 h 4280108"/>
                <a:gd name="connsiteX113" fmla="*/ 4384596 w 5624068"/>
                <a:gd name="connsiteY113" fmla="*/ 1038165 h 4280108"/>
                <a:gd name="connsiteX114" fmla="*/ 4274083 w 5624068"/>
                <a:gd name="connsiteY114" fmla="*/ 1046122 h 4280108"/>
                <a:gd name="connsiteX115" fmla="*/ 4172154 w 5624068"/>
                <a:gd name="connsiteY115" fmla="*/ 1075181 h 4280108"/>
                <a:gd name="connsiteX116" fmla="*/ 4072728 w 5624068"/>
                <a:gd name="connsiteY116" fmla="*/ 1212339 h 4280108"/>
                <a:gd name="connsiteX117" fmla="*/ 4041434 w 5624068"/>
                <a:gd name="connsiteY117" fmla="*/ 1240324 h 4280108"/>
                <a:gd name="connsiteX118" fmla="*/ 4108851 w 5624068"/>
                <a:gd name="connsiteY118" fmla="*/ 1277788 h 4280108"/>
                <a:gd name="connsiteX119" fmla="*/ 4124498 w 5624068"/>
                <a:gd name="connsiteY119" fmla="*/ 1272781 h 4280108"/>
                <a:gd name="connsiteX120" fmla="*/ 4170902 w 5624068"/>
                <a:gd name="connsiteY120" fmla="*/ 1270456 h 4280108"/>
                <a:gd name="connsiteX121" fmla="*/ 4222672 w 5624068"/>
                <a:gd name="connsiteY121" fmla="*/ 1335637 h 4280108"/>
                <a:gd name="connsiteX122" fmla="*/ 4230719 w 5624068"/>
                <a:gd name="connsiteY122" fmla="*/ 1432023 h 4280108"/>
                <a:gd name="connsiteX123" fmla="*/ 4241806 w 5624068"/>
                <a:gd name="connsiteY123" fmla="*/ 1492376 h 4280108"/>
                <a:gd name="connsiteX124" fmla="*/ 4223477 w 5624068"/>
                <a:gd name="connsiteY124" fmla="*/ 1575886 h 4280108"/>
                <a:gd name="connsiteX125" fmla="*/ 4196206 w 5624068"/>
                <a:gd name="connsiteY125" fmla="*/ 1629891 h 4280108"/>
                <a:gd name="connsiteX126" fmla="*/ 4135227 w 5624068"/>
                <a:gd name="connsiteY126" fmla="*/ 1744606 h 4280108"/>
                <a:gd name="connsiteX127" fmla="*/ 4087392 w 5624068"/>
                <a:gd name="connsiteY127" fmla="*/ 1755603 h 4280108"/>
                <a:gd name="connsiteX128" fmla="*/ 4054041 w 5624068"/>
                <a:gd name="connsiteY128" fmla="*/ 1749076 h 4280108"/>
                <a:gd name="connsiteX129" fmla="*/ 4030794 w 5624068"/>
                <a:gd name="connsiteY129" fmla="*/ 1790921 h 4280108"/>
                <a:gd name="connsiteX130" fmla="*/ 4000484 w 5624068"/>
                <a:gd name="connsiteY130" fmla="*/ 1845551 h 4280108"/>
                <a:gd name="connsiteX131" fmla="*/ 3997176 w 5624068"/>
                <a:gd name="connsiteY131" fmla="*/ 1875683 h 4280108"/>
                <a:gd name="connsiteX132" fmla="*/ 4027307 w 5624068"/>
                <a:gd name="connsiteY132" fmla="*/ 1909928 h 4280108"/>
                <a:gd name="connsiteX133" fmla="*/ 4071119 w 5624068"/>
                <a:gd name="connsiteY133" fmla="*/ 1991829 h 4280108"/>
                <a:gd name="connsiteX134" fmla="*/ 4054846 w 5624068"/>
                <a:gd name="connsiteY134" fmla="*/ 2024553 h 4280108"/>
                <a:gd name="connsiteX135" fmla="*/ 4026592 w 5624068"/>
                <a:gd name="connsiteY135" fmla="*/ 2040469 h 4280108"/>
                <a:gd name="connsiteX136" fmla="*/ 3971425 w 5624068"/>
                <a:gd name="connsiteY136" fmla="*/ 2020977 h 4280108"/>
                <a:gd name="connsiteX137" fmla="*/ 3962395 w 5624068"/>
                <a:gd name="connsiteY137" fmla="*/ 1979669 h 4280108"/>
                <a:gd name="connsiteX138" fmla="*/ 3916616 w 5624068"/>
                <a:gd name="connsiteY138" fmla="*/ 1925038 h 4280108"/>
                <a:gd name="connsiteX139" fmla="*/ 3900611 w 5624068"/>
                <a:gd name="connsiteY139" fmla="*/ 1895801 h 4280108"/>
                <a:gd name="connsiteX140" fmla="*/ 3844729 w 5624068"/>
                <a:gd name="connsiteY140" fmla="*/ 1865043 h 4280108"/>
                <a:gd name="connsiteX141" fmla="*/ 3802527 w 5624068"/>
                <a:gd name="connsiteY141" fmla="*/ 1879706 h 4280108"/>
                <a:gd name="connsiteX142" fmla="*/ 3793586 w 5624068"/>
                <a:gd name="connsiteY142" fmla="*/ 1827579 h 4280108"/>
                <a:gd name="connsiteX143" fmla="*/ 3789294 w 5624068"/>
                <a:gd name="connsiteY143" fmla="*/ 1817565 h 4280108"/>
                <a:gd name="connsiteX144" fmla="*/ 3748343 w 5624068"/>
                <a:gd name="connsiteY144" fmla="*/ 1855744 h 4280108"/>
                <a:gd name="connsiteX145" fmla="*/ 3739044 w 5624068"/>
                <a:gd name="connsiteY145" fmla="*/ 1868888 h 4280108"/>
                <a:gd name="connsiteX146" fmla="*/ 3720089 w 5624068"/>
                <a:gd name="connsiteY146" fmla="*/ 1893029 h 4280108"/>
                <a:gd name="connsiteX147" fmla="*/ 3782499 w 5624068"/>
                <a:gd name="connsiteY147" fmla="*/ 1917438 h 4280108"/>
                <a:gd name="connsiteX148" fmla="*/ 3853670 w 5624068"/>
                <a:gd name="connsiteY148" fmla="*/ 1926737 h 4280108"/>
                <a:gd name="connsiteX149" fmla="*/ 3845713 w 5624068"/>
                <a:gd name="connsiteY149" fmla="*/ 1955259 h 4280108"/>
                <a:gd name="connsiteX150" fmla="*/ 3806818 w 5624068"/>
                <a:gd name="connsiteY150" fmla="*/ 1984586 h 4280108"/>
                <a:gd name="connsiteX151" fmla="*/ 3806550 w 5624068"/>
                <a:gd name="connsiteY151" fmla="*/ 2030097 h 4280108"/>
                <a:gd name="connsiteX152" fmla="*/ 3877990 w 5624068"/>
                <a:gd name="connsiteY152" fmla="*/ 2110567 h 4280108"/>
                <a:gd name="connsiteX153" fmla="*/ 3889434 w 5624068"/>
                <a:gd name="connsiteY153" fmla="*/ 2164572 h 4280108"/>
                <a:gd name="connsiteX154" fmla="*/ 3910714 w 5624068"/>
                <a:gd name="connsiteY154" fmla="*/ 2209814 h 4280108"/>
                <a:gd name="connsiteX155" fmla="*/ 3806997 w 5624068"/>
                <a:gd name="connsiteY155" fmla="*/ 2409381 h 4280108"/>
                <a:gd name="connsiteX156" fmla="*/ 3774898 w 5624068"/>
                <a:gd name="connsiteY156" fmla="*/ 2424491 h 4280108"/>
                <a:gd name="connsiteX157" fmla="*/ 3669929 w 5624068"/>
                <a:gd name="connsiteY157" fmla="*/ 2467140 h 4280108"/>
                <a:gd name="connsiteX158" fmla="*/ 3651153 w 5624068"/>
                <a:gd name="connsiteY158" fmla="*/ 2484397 h 4280108"/>
                <a:gd name="connsiteX159" fmla="*/ 3614494 w 5624068"/>
                <a:gd name="connsiteY159" fmla="*/ 2485023 h 4280108"/>
                <a:gd name="connsiteX160" fmla="*/ 3558523 w 5624068"/>
                <a:gd name="connsiteY160" fmla="*/ 2482430 h 4280108"/>
                <a:gd name="connsiteX161" fmla="*/ 3535454 w 5624068"/>
                <a:gd name="connsiteY161" fmla="*/ 2505498 h 4280108"/>
                <a:gd name="connsiteX162" fmla="*/ 3528838 w 5624068"/>
                <a:gd name="connsiteY162" fmla="*/ 2541173 h 4280108"/>
                <a:gd name="connsiteX163" fmla="*/ 3594376 w 5624068"/>
                <a:gd name="connsiteY163" fmla="*/ 2616011 h 4280108"/>
                <a:gd name="connsiteX164" fmla="*/ 3665727 w 5624068"/>
                <a:gd name="connsiteY164" fmla="*/ 2765865 h 4280108"/>
                <a:gd name="connsiteX165" fmla="*/ 3645431 w 5624068"/>
                <a:gd name="connsiteY165" fmla="*/ 2801361 h 4280108"/>
                <a:gd name="connsiteX166" fmla="*/ 3571219 w 5624068"/>
                <a:gd name="connsiteY166" fmla="*/ 2853488 h 4280108"/>
                <a:gd name="connsiteX167" fmla="*/ 3527765 w 5624068"/>
                <a:gd name="connsiteY167" fmla="*/ 2837662 h 4280108"/>
                <a:gd name="connsiteX168" fmla="*/ 3497097 w 5624068"/>
                <a:gd name="connsiteY168" fmla="*/ 2798679 h 4280108"/>
                <a:gd name="connsiteX169" fmla="*/ 3397224 w 5624068"/>
                <a:gd name="connsiteY169" fmla="*/ 2734302 h 4280108"/>
                <a:gd name="connsiteX170" fmla="*/ 3398297 w 5624068"/>
                <a:gd name="connsiteY170" fmla="*/ 2751738 h 4280108"/>
                <a:gd name="connsiteX171" fmla="*/ 3396151 w 5624068"/>
                <a:gd name="connsiteY171" fmla="*/ 2766312 h 4280108"/>
                <a:gd name="connsiteX172" fmla="*/ 3453017 w 5624068"/>
                <a:gd name="connsiteY172" fmla="*/ 2898730 h 4280108"/>
                <a:gd name="connsiteX173" fmla="*/ 3537421 w 5624068"/>
                <a:gd name="connsiteY173" fmla="*/ 3009869 h 4280108"/>
                <a:gd name="connsiteX174" fmla="*/ 3556734 w 5624068"/>
                <a:gd name="connsiteY174" fmla="*/ 3043577 h 4280108"/>
                <a:gd name="connsiteX175" fmla="*/ 3560847 w 5624068"/>
                <a:gd name="connsiteY175" fmla="*/ 3085511 h 4280108"/>
                <a:gd name="connsiteX176" fmla="*/ 3520880 w 5624068"/>
                <a:gd name="connsiteY176" fmla="*/ 3085064 h 4280108"/>
                <a:gd name="connsiteX177" fmla="*/ 3476621 w 5624068"/>
                <a:gd name="connsiteY177" fmla="*/ 3057972 h 4280108"/>
                <a:gd name="connsiteX178" fmla="*/ 3462405 w 5624068"/>
                <a:gd name="connsiteY178" fmla="*/ 3028109 h 4280108"/>
                <a:gd name="connsiteX179" fmla="*/ 3442645 w 5624068"/>
                <a:gd name="connsiteY179" fmla="*/ 2991629 h 4280108"/>
                <a:gd name="connsiteX180" fmla="*/ 3401337 w 5624068"/>
                <a:gd name="connsiteY180" fmla="*/ 2916255 h 4280108"/>
                <a:gd name="connsiteX181" fmla="*/ 3378269 w 5624068"/>
                <a:gd name="connsiteY181" fmla="*/ 2889431 h 4280108"/>
                <a:gd name="connsiteX182" fmla="*/ 3358062 w 5624068"/>
                <a:gd name="connsiteY182" fmla="*/ 2885587 h 4280108"/>
                <a:gd name="connsiteX183" fmla="*/ 3352876 w 5624068"/>
                <a:gd name="connsiteY183" fmla="*/ 2813253 h 4280108"/>
                <a:gd name="connsiteX184" fmla="*/ 3340716 w 5624068"/>
                <a:gd name="connsiteY184" fmla="*/ 2780170 h 4280108"/>
                <a:gd name="connsiteX185" fmla="*/ 3307097 w 5624068"/>
                <a:gd name="connsiteY185" fmla="*/ 2701309 h 4280108"/>
                <a:gd name="connsiteX186" fmla="*/ 3286711 w 5624068"/>
                <a:gd name="connsiteY186" fmla="*/ 2634519 h 4280108"/>
                <a:gd name="connsiteX187" fmla="*/ 3239770 w 5624068"/>
                <a:gd name="connsiteY187" fmla="*/ 2641046 h 4280108"/>
                <a:gd name="connsiteX188" fmla="*/ 3238161 w 5624068"/>
                <a:gd name="connsiteY188" fmla="*/ 2642655 h 4280108"/>
                <a:gd name="connsiteX189" fmla="*/ 3238965 w 5624068"/>
                <a:gd name="connsiteY189" fmla="*/ 2644712 h 4280108"/>
                <a:gd name="connsiteX190" fmla="*/ 3197121 w 5624068"/>
                <a:gd name="connsiteY190" fmla="*/ 2643460 h 4280108"/>
                <a:gd name="connsiteX191" fmla="*/ 3200787 w 5624068"/>
                <a:gd name="connsiteY191" fmla="*/ 2601794 h 4280108"/>
                <a:gd name="connsiteX192" fmla="*/ 3120138 w 5624068"/>
                <a:gd name="connsiteY192" fmla="*/ 2516317 h 4280108"/>
                <a:gd name="connsiteX193" fmla="*/ 3095728 w 5624068"/>
                <a:gd name="connsiteY193" fmla="*/ 2464458 h 4280108"/>
                <a:gd name="connsiteX194" fmla="*/ 3073376 w 5624068"/>
                <a:gd name="connsiteY194" fmla="*/ 2463296 h 4280108"/>
                <a:gd name="connsiteX195" fmla="*/ 3056656 w 5624068"/>
                <a:gd name="connsiteY195" fmla="*/ 2465531 h 4280108"/>
                <a:gd name="connsiteX196" fmla="*/ 3023394 w 5624068"/>
                <a:gd name="connsiteY196" fmla="*/ 2469287 h 4280108"/>
                <a:gd name="connsiteX197" fmla="*/ 2972788 w 5624068"/>
                <a:gd name="connsiteY197" fmla="*/ 2495663 h 4280108"/>
                <a:gd name="connsiteX198" fmla="*/ 2945517 w 5624068"/>
                <a:gd name="connsiteY198" fmla="*/ 2530623 h 4280108"/>
                <a:gd name="connsiteX199" fmla="*/ 2873809 w 5624068"/>
                <a:gd name="connsiteY199" fmla="*/ 2608679 h 4280108"/>
                <a:gd name="connsiteX200" fmla="*/ 2862096 w 5624068"/>
                <a:gd name="connsiteY200" fmla="*/ 2642924 h 4280108"/>
                <a:gd name="connsiteX201" fmla="*/ 2827136 w 5624068"/>
                <a:gd name="connsiteY201" fmla="*/ 2696839 h 4280108"/>
                <a:gd name="connsiteX202" fmla="*/ 2826957 w 5624068"/>
                <a:gd name="connsiteY202" fmla="*/ 2725540 h 4280108"/>
                <a:gd name="connsiteX203" fmla="*/ 2833574 w 5624068"/>
                <a:gd name="connsiteY203" fmla="*/ 2742349 h 4280108"/>
                <a:gd name="connsiteX204" fmla="*/ 2834557 w 5624068"/>
                <a:gd name="connsiteY204" fmla="*/ 2770603 h 4280108"/>
                <a:gd name="connsiteX205" fmla="*/ 2833663 w 5624068"/>
                <a:gd name="connsiteY205" fmla="*/ 2817455 h 4280108"/>
                <a:gd name="connsiteX206" fmla="*/ 2830623 w 5624068"/>
                <a:gd name="connsiteY206" fmla="*/ 2838556 h 4280108"/>
                <a:gd name="connsiteX207" fmla="*/ 2791729 w 5624068"/>
                <a:gd name="connsiteY207" fmla="*/ 2894349 h 4280108"/>
                <a:gd name="connsiteX208" fmla="*/ 2731644 w 5624068"/>
                <a:gd name="connsiteY208" fmla="*/ 2889610 h 4280108"/>
                <a:gd name="connsiteX209" fmla="*/ 2725743 w 5624068"/>
                <a:gd name="connsiteY209" fmla="*/ 2874589 h 4280108"/>
                <a:gd name="connsiteX210" fmla="*/ 2716266 w 5624068"/>
                <a:gd name="connsiteY210" fmla="*/ 2847140 h 4280108"/>
                <a:gd name="connsiteX211" fmla="*/ 2670129 w 5624068"/>
                <a:gd name="connsiteY211" fmla="*/ 2771944 h 4280108"/>
                <a:gd name="connsiteX212" fmla="*/ 2659042 w 5624068"/>
                <a:gd name="connsiteY212" fmla="*/ 2745210 h 4280108"/>
                <a:gd name="connsiteX213" fmla="*/ 2612727 w 5624068"/>
                <a:gd name="connsiteY213" fmla="*/ 2678510 h 4280108"/>
                <a:gd name="connsiteX214" fmla="*/ 2591358 w 5624068"/>
                <a:gd name="connsiteY214" fmla="*/ 2608232 h 4280108"/>
                <a:gd name="connsiteX215" fmla="*/ 2580181 w 5624068"/>
                <a:gd name="connsiteY215" fmla="*/ 2579263 h 4280108"/>
                <a:gd name="connsiteX216" fmla="*/ 2558007 w 5624068"/>
                <a:gd name="connsiteY216" fmla="*/ 2497183 h 4280108"/>
                <a:gd name="connsiteX217" fmla="*/ 2548977 w 5624068"/>
                <a:gd name="connsiteY217" fmla="*/ 2480731 h 4280108"/>
                <a:gd name="connsiteX218" fmla="*/ 2538426 w 5624068"/>
                <a:gd name="connsiteY218" fmla="*/ 2503084 h 4280108"/>
                <a:gd name="connsiteX219" fmla="*/ 2472351 w 5624068"/>
                <a:gd name="connsiteY219" fmla="*/ 2491460 h 4280108"/>
                <a:gd name="connsiteX220" fmla="*/ 2459118 w 5624068"/>
                <a:gd name="connsiteY220" fmla="*/ 2477602 h 4280108"/>
                <a:gd name="connsiteX221" fmla="*/ 2461353 w 5624068"/>
                <a:gd name="connsiteY221" fmla="*/ 2449884 h 4280108"/>
                <a:gd name="connsiteX222" fmla="*/ 2442040 w 5624068"/>
                <a:gd name="connsiteY222" fmla="*/ 2438886 h 4280108"/>
                <a:gd name="connsiteX223" fmla="*/ 2363180 w 5624068"/>
                <a:gd name="connsiteY223" fmla="*/ 2384435 h 4280108"/>
                <a:gd name="connsiteX224" fmla="*/ 2257763 w 5624068"/>
                <a:gd name="connsiteY224" fmla="*/ 2369145 h 4280108"/>
                <a:gd name="connsiteX225" fmla="*/ 2239076 w 5624068"/>
                <a:gd name="connsiteY225" fmla="*/ 2373616 h 4280108"/>
                <a:gd name="connsiteX226" fmla="*/ 2178902 w 5624068"/>
                <a:gd name="connsiteY226" fmla="*/ 2379785 h 4280108"/>
                <a:gd name="connsiteX227" fmla="*/ 2118371 w 5624068"/>
                <a:gd name="connsiteY227" fmla="*/ 2376656 h 4280108"/>
                <a:gd name="connsiteX228" fmla="*/ 2076705 w 5624068"/>
                <a:gd name="connsiteY228" fmla="*/ 2345988 h 4280108"/>
                <a:gd name="connsiteX229" fmla="*/ 2052116 w 5624068"/>
                <a:gd name="connsiteY229" fmla="*/ 2332844 h 4280108"/>
                <a:gd name="connsiteX230" fmla="*/ 1968159 w 5624068"/>
                <a:gd name="connsiteY230" fmla="*/ 2322204 h 4280108"/>
                <a:gd name="connsiteX231" fmla="*/ 1944912 w 5624068"/>
                <a:gd name="connsiteY231" fmla="*/ 2310938 h 4280108"/>
                <a:gd name="connsiteX232" fmla="*/ 1890282 w 5624068"/>
                <a:gd name="connsiteY232" fmla="*/ 2265338 h 4280108"/>
                <a:gd name="connsiteX233" fmla="*/ 1848348 w 5624068"/>
                <a:gd name="connsiteY233" fmla="*/ 2236012 h 4280108"/>
                <a:gd name="connsiteX234" fmla="*/ 1850136 w 5624068"/>
                <a:gd name="connsiteY234" fmla="*/ 2283758 h 4280108"/>
                <a:gd name="connsiteX235" fmla="*/ 1859435 w 5624068"/>
                <a:gd name="connsiteY235" fmla="*/ 2300656 h 4280108"/>
                <a:gd name="connsiteX236" fmla="*/ 1912188 w 5624068"/>
                <a:gd name="connsiteY236" fmla="*/ 2374599 h 4280108"/>
                <a:gd name="connsiteX237" fmla="*/ 1931590 w 5624068"/>
                <a:gd name="connsiteY237" fmla="*/ 2350995 h 4280108"/>
                <a:gd name="connsiteX238" fmla="*/ 1950992 w 5624068"/>
                <a:gd name="connsiteY238" fmla="*/ 2373974 h 4280108"/>
                <a:gd name="connsiteX239" fmla="*/ 1951886 w 5624068"/>
                <a:gd name="connsiteY239" fmla="*/ 2380411 h 4280108"/>
                <a:gd name="connsiteX240" fmla="*/ 1960559 w 5624068"/>
                <a:gd name="connsiteY240" fmla="*/ 2413404 h 4280108"/>
                <a:gd name="connsiteX241" fmla="*/ 2015815 w 5624068"/>
                <a:gd name="connsiteY241" fmla="*/ 2394807 h 4280108"/>
                <a:gd name="connsiteX242" fmla="*/ 2045590 w 5624068"/>
                <a:gd name="connsiteY242" fmla="*/ 2351978 h 4280108"/>
                <a:gd name="connsiteX243" fmla="*/ 2071072 w 5624068"/>
                <a:gd name="connsiteY243" fmla="*/ 2339461 h 4280108"/>
                <a:gd name="connsiteX244" fmla="*/ 2078046 w 5624068"/>
                <a:gd name="connsiteY244" fmla="*/ 2367089 h 4280108"/>
                <a:gd name="connsiteX245" fmla="*/ 2111128 w 5624068"/>
                <a:gd name="connsiteY245" fmla="*/ 2410632 h 4280108"/>
                <a:gd name="connsiteX246" fmla="*/ 2190168 w 5624068"/>
                <a:gd name="connsiteY246" fmla="*/ 2464279 h 4280108"/>
                <a:gd name="connsiteX247" fmla="*/ 2192850 w 5624068"/>
                <a:gd name="connsiteY247" fmla="*/ 2493785 h 4280108"/>
                <a:gd name="connsiteX248" fmla="*/ 2095213 w 5624068"/>
                <a:gd name="connsiteY248" fmla="*/ 2637738 h 4280108"/>
                <a:gd name="connsiteX249" fmla="*/ 2070357 w 5624068"/>
                <a:gd name="connsiteY249" fmla="*/ 2658749 h 4280108"/>
                <a:gd name="connsiteX250" fmla="*/ 2044874 w 5624068"/>
                <a:gd name="connsiteY250" fmla="*/ 2670284 h 4280108"/>
                <a:gd name="connsiteX251" fmla="*/ 1932931 w 5624068"/>
                <a:gd name="connsiteY251" fmla="*/ 2741187 h 4280108"/>
                <a:gd name="connsiteX252" fmla="*/ 1796042 w 5624068"/>
                <a:gd name="connsiteY252" fmla="*/ 2800914 h 4280108"/>
                <a:gd name="connsiteX253" fmla="*/ 1737120 w 5624068"/>
                <a:gd name="connsiteY253" fmla="*/ 2773375 h 4280108"/>
                <a:gd name="connsiteX254" fmla="*/ 1719237 w 5624068"/>
                <a:gd name="connsiteY254" fmla="*/ 2721159 h 4280108"/>
                <a:gd name="connsiteX255" fmla="*/ 1655755 w 5624068"/>
                <a:gd name="connsiteY255" fmla="*/ 2596072 h 4280108"/>
                <a:gd name="connsiteX256" fmla="*/ 1582348 w 5624068"/>
                <a:gd name="connsiteY256" fmla="*/ 2481178 h 4280108"/>
                <a:gd name="connsiteX257" fmla="*/ 1570546 w 5624068"/>
                <a:gd name="connsiteY257" fmla="*/ 2465889 h 4280108"/>
                <a:gd name="connsiteX258" fmla="*/ 1454937 w 5624068"/>
                <a:gd name="connsiteY258" fmla="*/ 2326585 h 4280108"/>
                <a:gd name="connsiteX259" fmla="*/ 1444028 w 5624068"/>
                <a:gd name="connsiteY259" fmla="*/ 2298957 h 4280108"/>
                <a:gd name="connsiteX260" fmla="*/ 1433746 w 5624068"/>
                <a:gd name="connsiteY260" fmla="*/ 2346614 h 4280108"/>
                <a:gd name="connsiteX261" fmla="*/ 1474965 w 5624068"/>
                <a:gd name="connsiteY261" fmla="*/ 2404910 h 4280108"/>
                <a:gd name="connsiteX262" fmla="*/ 1499910 w 5624068"/>
                <a:gd name="connsiteY262" fmla="*/ 2452477 h 4280108"/>
                <a:gd name="connsiteX263" fmla="*/ 1511981 w 5624068"/>
                <a:gd name="connsiteY263" fmla="*/ 2478675 h 4280108"/>
                <a:gd name="connsiteX264" fmla="*/ 1558118 w 5624068"/>
                <a:gd name="connsiteY264" fmla="*/ 2570053 h 4280108"/>
                <a:gd name="connsiteX265" fmla="*/ 1592005 w 5624068"/>
                <a:gd name="connsiteY265" fmla="*/ 2627992 h 4280108"/>
                <a:gd name="connsiteX266" fmla="*/ 1612837 w 5624068"/>
                <a:gd name="connsiteY266" fmla="*/ 2660627 h 4280108"/>
                <a:gd name="connsiteX267" fmla="*/ 1669256 w 5624068"/>
                <a:gd name="connsiteY267" fmla="*/ 2731799 h 4280108"/>
                <a:gd name="connsiteX268" fmla="*/ 1743825 w 5624068"/>
                <a:gd name="connsiteY268" fmla="*/ 2789022 h 4280108"/>
                <a:gd name="connsiteX269" fmla="*/ 1755806 w 5624068"/>
                <a:gd name="connsiteY269" fmla="*/ 2820048 h 4280108"/>
                <a:gd name="connsiteX270" fmla="*/ 1814550 w 5624068"/>
                <a:gd name="connsiteY270" fmla="*/ 2857333 h 4280108"/>
                <a:gd name="connsiteX271" fmla="*/ 1954390 w 5624068"/>
                <a:gd name="connsiteY271" fmla="*/ 2814594 h 4280108"/>
                <a:gd name="connsiteX272" fmla="*/ 1987293 w 5624068"/>
                <a:gd name="connsiteY272" fmla="*/ 2840791 h 4280108"/>
                <a:gd name="connsiteX273" fmla="*/ 1983001 w 5624068"/>
                <a:gd name="connsiteY273" fmla="*/ 2889431 h 4280108"/>
                <a:gd name="connsiteX274" fmla="*/ 1965745 w 5624068"/>
                <a:gd name="connsiteY274" fmla="*/ 2938786 h 4280108"/>
                <a:gd name="connsiteX275" fmla="*/ 1957608 w 5624068"/>
                <a:gd name="connsiteY275" fmla="*/ 2969902 h 4280108"/>
                <a:gd name="connsiteX276" fmla="*/ 1931769 w 5624068"/>
                <a:gd name="connsiteY276" fmla="*/ 3025784 h 4280108"/>
                <a:gd name="connsiteX277" fmla="*/ 1791303 w 5624068"/>
                <a:gd name="connsiteY277" fmla="*/ 3188155 h 4280108"/>
                <a:gd name="connsiteX278" fmla="*/ 1683920 w 5624068"/>
                <a:gd name="connsiteY278" fmla="*/ 3341586 h 4280108"/>
                <a:gd name="connsiteX279" fmla="*/ 1680790 w 5624068"/>
                <a:gd name="connsiteY279" fmla="*/ 3357322 h 4280108"/>
                <a:gd name="connsiteX280" fmla="*/ 1726569 w 5624068"/>
                <a:gd name="connsiteY280" fmla="*/ 3506639 h 4280108"/>
                <a:gd name="connsiteX281" fmla="*/ 1736136 w 5624068"/>
                <a:gd name="connsiteY281" fmla="*/ 3594799 h 4280108"/>
                <a:gd name="connsiteX282" fmla="*/ 1737656 w 5624068"/>
                <a:gd name="connsiteY282" fmla="*/ 3639773 h 4280108"/>
                <a:gd name="connsiteX283" fmla="*/ 1729072 w 5624068"/>
                <a:gd name="connsiteY283" fmla="*/ 3669369 h 4280108"/>
                <a:gd name="connsiteX284" fmla="*/ 1686781 w 5624068"/>
                <a:gd name="connsiteY284" fmla="*/ 3704596 h 4280108"/>
                <a:gd name="connsiteX285" fmla="*/ 1601214 w 5624068"/>
                <a:gd name="connsiteY285" fmla="*/ 3768883 h 4280108"/>
                <a:gd name="connsiteX286" fmla="*/ 1579934 w 5624068"/>
                <a:gd name="connsiteY286" fmla="*/ 3843363 h 4280108"/>
                <a:gd name="connsiteX287" fmla="*/ 1586461 w 5624068"/>
                <a:gd name="connsiteY287" fmla="*/ 3871886 h 4280108"/>
                <a:gd name="connsiteX288" fmla="*/ 1586550 w 5624068"/>
                <a:gd name="connsiteY288" fmla="*/ 3901839 h 4280108"/>
                <a:gd name="connsiteX289" fmla="*/ 1510104 w 5624068"/>
                <a:gd name="connsiteY289" fmla="*/ 3979358 h 4280108"/>
                <a:gd name="connsiteX290" fmla="*/ 1505812 w 5624068"/>
                <a:gd name="connsiteY290" fmla="*/ 4017537 h 4280108"/>
                <a:gd name="connsiteX291" fmla="*/ 1408711 w 5624068"/>
                <a:gd name="connsiteY291" fmla="*/ 4151386 h 4280108"/>
                <a:gd name="connsiteX292" fmla="*/ 1391276 w 5624068"/>
                <a:gd name="connsiteY292" fmla="*/ 4165781 h 4280108"/>
                <a:gd name="connsiteX293" fmla="*/ 1234806 w 5624068"/>
                <a:gd name="connsiteY293" fmla="*/ 4250275 h 4280108"/>
                <a:gd name="connsiteX294" fmla="*/ 1175526 w 5624068"/>
                <a:gd name="connsiteY294" fmla="*/ 4255551 h 4280108"/>
                <a:gd name="connsiteX295" fmla="*/ 1153977 w 5624068"/>
                <a:gd name="connsiteY295" fmla="*/ 4261720 h 4280108"/>
                <a:gd name="connsiteX296" fmla="*/ 1037474 w 5624068"/>
                <a:gd name="connsiteY296" fmla="*/ 4220412 h 4280108"/>
                <a:gd name="connsiteX297" fmla="*/ 1045342 w 5624068"/>
                <a:gd name="connsiteY297" fmla="*/ 4184290 h 4280108"/>
                <a:gd name="connsiteX298" fmla="*/ 974976 w 5624068"/>
                <a:gd name="connsiteY298" fmla="*/ 4072704 h 4280108"/>
                <a:gd name="connsiteX299" fmla="*/ 965229 w 5624068"/>
                <a:gd name="connsiteY299" fmla="*/ 4056074 h 4280108"/>
                <a:gd name="connsiteX300" fmla="*/ 935455 w 5624068"/>
                <a:gd name="connsiteY300" fmla="*/ 3929914 h 4280108"/>
                <a:gd name="connsiteX301" fmla="*/ 930270 w 5624068"/>
                <a:gd name="connsiteY301" fmla="*/ 3888516 h 4280108"/>
                <a:gd name="connsiteX302" fmla="*/ 864374 w 5624068"/>
                <a:gd name="connsiteY302" fmla="*/ 3789895 h 4280108"/>
                <a:gd name="connsiteX303" fmla="*/ 859724 w 5624068"/>
                <a:gd name="connsiteY303" fmla="*/ 3775053 h 4280108"/>
                <a:gd name="connsiteX304" fmla="*/ 859992 w 5624068"/>
                <a:gd name="connsiteY304" fmla="*/ 3719528 h 4280108"/>
                <a:gd name="connsiteX305" fmla="*/ 863569 w 5624068"/>
                <a:gd name="connsiteY305" fmla="*/ 3675627 h 4280108"/>
                <a:gd name="connsiteX306" fmla="*/ 903357 w 5624068"/>
                <a:gd name="connsiteY306" fmla="*/ 3597929 h 4280108"/>
                <a:gd name="connsiteX307" fmla="*/ 914623 w 5624068"/>
                <a:gd name="connsiteY307" fmla="*/ 3558945 h 4280108"/>
                <a:gd name="connsiteX308" fmla="*/ 893432 w 5624068"/>
                <a:gd name="connsiteY308" fmla="*/ 3498592 h 4280108"/>
                <a:gd name="connsiteX309" fmla="*/ 890839 w 5624068"/>
                <a:gd name="connsiteY309" fmla="*/ 3451025 h 4280108"/>
                <a:gd name="connsiteX310" fmla="*/ 870185 w 5624068"/>
                <a:gd name="connsiteY310" fmla="*/ 3417764 h 4280108"/>
                <a:gd name="connsiteX311" fmla="*/ 805183 w 5624068"/>
                <a:gd name="connsiteY311" fmla="*/ 3333091 h 4280108"/>
                <a:gd name="connsiteX312" fmla="*/ 768793 w 5624068"/>
                <a:gd name="connsiteY312" fmla="*/ 3284899 h 4280108"/>
                <a:gd name="connsiteX313" fmla="*/ 768614 w 5624068"/>
                <a:gd name="connsiteY313" fmla="*/ 3242518 h 4280108"/>
                <a:gd name="connsiteX314" fmla="*/ 791235 w 5624068"/>
                <a:gd name="connsiteY314" fmla="*/ 3147026 h 4280108"/>
                <a:gd name="connsiteX315" fmla="*/ 784350 w 5624068"/>
                <a:gd name="connsiteY315" fmla="*/ 3119040 h 4280108"/>
                <a:gd name="connsiteX316" fmla="*/ 713447 w 5624068"/>
                <a:gd name="connsiteY316" fmla="*/ 3103661 h 4280108"/>
                <a:gd name="connsiteX317" fmla="*/ 665880 w 5624068"/>
                <a:gd name="connsiteY317" fmla="*/ 3086226 h 4280108"/>
                <a:gd name="connsiteX318" fmla="*/ 638251 w 5624068"/>
                <a:gd name="connsiteY318" fmla="*/ 3054843 h 4280108"/>
                <a:gd name="connsiteX319" fmla="*/ 599447 w 5624068"/>
                <a:gd name="connsiteY319" fmla="*/ 3046706 h 4280108"/>
                <a:gd name="connsiteX320" fmla="*/ 484374 w 5624068"/>
                <a:gd name="connsiteY320" fmla="*/ 3090697 h 4280108"/>
                <a:gd name="connsiteX321" fmla="*/ 431174 w 5624068"/>
                <a:gd name="connsiteY321" fmla="*/ 3095614 h 4280108"/>
                <a:gd name="connsiteX322" fmla="*/ 359198 w 5624068"/>
                <a:gd name="connsiteY322" fmla="*/ 3102678 h 4280108"/>
                <a:gd name="connsiteX323" fmla="*/ 347217 w 5624068"/>
                <a:gd name="connsiteY323" fmla="*/ 3107685 h 4280108"/>
                <a:gd name="connsiteX324" fmla="*/ 213725 w 5624068"/>
                <a:gd name="connsiteY324" fmla="*/ 3074692 h 4280108"/>
                <a:gd name="connsiteX325" fmla="*/ 181627 w 5624068"/>
                <a:gd name="connsiteY325" fmla="*/ 3044829 h 4280108"/>
                <a:gd name="connsiteX326" fmla="*/ 116446 w 5624068"/>
                <a:gd name="connsiteY326" fmla="*/ 2983492 h 4280108"/>
                <a:gd name="connsiteX327" fmla="*/ 37138 w 5624068"/>
                <a:gd name="connsiteY327" fmla="*/ 2882547 h 4280108"/>
                <a:gd name="connsiteX328" fmla="*/ 16305 w 5624068"/>
                <a:gd name="connsiteY328" fmla="*/ 2843563 h 4280108"/>
                <a:gd name="connsiteX329" fmla="*/ 5307 w 5624068"/>
                <a:gd name="connsiteY329" fmla="*/ 2803149 h 4280108"/>
                <a:gd name="connsiteX330" fmla="*/ 2982 w 5624068"/>
                <a:gd name="connsiteY330" fmla="*/ 2781869 h 4280108"/>
                <a:gd name="connsiteX331" fmla="*/ 30968 w 5624068"/>
                <a:gd name="connsiteY331" fmla="*/ 2698180 h 4280108"/>
                <a:gd name="connsiteX332" fmla="*/ 10940 w 5624068"/>
                <a:gd name="connsiteY332" fmla="*/ 2606623 h 4280108"/>
                <a:gd name="connsiteX333" fmla="*/ 6916 w 5624068"/>
                <a:gd name="connsiteY333" fmla="*/ 2571931 h 4280108"/>
                <a:gd name="connsiteX334" fmla="*/ 33025 w 5624068"/>
                <a:gd name="connsiteY334" fmla="*/ 2513724 h 4280108"/>
                <a:gd name="connsiteX335" fmla="*/ 42592 w 5624068"/>
                <a:gd name="connsiteY335" fmla="*/ 2483056 h 4280108"/>
                <a:gd name="connsiteX336" fmla="*/ 114032 w 5624068"/>
                <a:gd name="connsiteY336" fmla="*/ 2363781 h 4280108"/>
                <a:gd name="connsiteX337" fmla="*/ 143448 w 5624068"/>
                <a:gd name="connsiteY337" fmla="*/ 2341696 h 4280108"/>
                <a:gd name="connsiteX338" fmla="*/ 215514 w 5624068"/>
                <a:gd name="connsiteY338" fmla="*/ 2276157 h 4280108"/>
                <a:gd name="connsiteX339" fmla="*/ 211848 w 5624068"/>
                <a:gd name="connsiteY339" fmla="*/ 2240035 h 4280108"/>
                <a:gd name="connsiteX340" fmla="*/ 215692 w 5624068"/>
                <a:gd name="connsiteY340" fmla="*/ 2202125 h 4280108"/>
                <a:gd name="connsiteX341" fmla="*/ 231608 w 5624068"/>
                <a:gd name="connsiteY341" fmla="*/ 2174228 h 4280108"/>
                <a:gd name="connsiteX342" fmla="*/ 303226 w 5624068"/>
                <a:gd name="connsiteY342" fmla="*/ 2111104 h 4280108"/>
                <a:gd name="connsiteX343" fmla="*/ 309217 w 5624068"/>
                <a:gd name="connsiteY343" fmla="*/ 2098050 h 4280108"/>
                <a:gd name="connsiteX344" fmla="*/ 329245 w 5624068"/>
                <a:gd name="connsiteY344" fmla="*/ 2067739 h 4280108"/>
                <a:gd name="connsiteX345" fmla="*/ 425809 w 5624068"/>
                <a:gd name="connsiteY345" fmla="*/ 2070332 h 4280108"/>
                <a:gd name="connsiteX346" fmla="*/ 484374 w 5624068"/>
                <a:gd name="connsiteY346" fmla="*/ 2037518 h 4280108"/>
                <a:gd name="connsiteX347" fmla="*/ 525950 w 5624068"/>
                <a:gd name="connsiteY347" fmla="*/ 2019993 h 4280108"/>
                <a:gd name="connsiteX348" fmla="*/ 684656 w 5624068"/>
                <a:gd name="connsiteY348" fmla="*/ 2010247 h 4280108"/>
                <a:gd name="connsiteX349" fmla="*/ 718722 w 5624068"/>
                <a:gd name="connsiteY349" fmla="*/ 2001127 h 4280108"/>
                <a:gd name="connsiteX350" fmla="*/ 779164 w 5624068"/>
                <a:gd name="connsiteY350" fmla="*/ 2037428 h 4280108"/>
                <a:gd name="connsiteX351" fmla="*/ 787032 w 5624068"/>
                <a:gd name="connsiteY351" fmla="*/ 2115217 h 4280108"/>
                <a:gd name="connsiteX352" fmla="*/ 817521 w 5624068"/>
                <a:gd name="connsiteY352" fmla="*/ 2144454 h 4280108"/>
                <a:gd name="connsiteX353" fmla="*/ 865088 w 5624068"/>
                <a:gd name="connsiteY353" fmla="*/ 2155273 h 4280108"/>
                <a:gd name="connsiteX354" fmla="*/ 921150 w 5624068"/>
                <a:gd name="connsiteY354" fmla="*/ 2188892 h 4280108"/>
                <a:gd name="connsiteX355" fmla="*/ 1005197 w 5624068"/>
                <a:gd name="connsiteY355" fmla="*/ 2225997 h 4280108"/>
                <a:gd name="connsiteX356" fmla="*/ 1022095 w 5624068"/>
                <a:gd name="connsiteY356" fmla="*/ 2204002 h 4280108"/>
                <a:gd name="connsiteX357" fmla="*/ 1038994 w 5624068"/>
                <a:gd name="connsiteY357" fmla="*/ 2163409 h 4280108"/>
                <a:gd name="connsiteX358" fmla="*/ 1130462 w 5624068"/>
                <a:gd name="connsiteY358" fmla="*/ 2168238 h 4280108"/>
                <a:gd name="connsiteX359" fmla="*/ 1148970 w 5624068"/>
                <a:gd name="connsiteY359" fmla="*/ 2171188 h 4280108"/>
                <a:gd name="connsiteX360" fmla="*/ 1223629 w 5624068"/>
                <a:gd name="connsiteY360" fmla="*/ 2191663 h 4280108"/>
                <a:gd name="connsiteX361" fmla="*/ 1309732 w 5624068"/>
                <a:gd name="connsiteY361" fmla="*/ 2180219 h 4280108"/>
                <a:gd name="connsiteX362" fmla="*/ 1347374 w 5624068"/>
                <a:gd name="connsiteY362" fmla="*/ 2177089 h 4280108"/>
                <a:gd name="connsiteX363" fmla="*/ 1371426 w 5624068"/>
                <a:gd name="connsiteY363" fmla="*/ 2187103 h 4280108"/>
                <a:gd name="connsiteX364" fmla="*/ 1418367 w 5624068"/>
                <a:gd name="connsiteY364" fmla="*/ 2163767 h 4280108"/>
                <a:gd name="connsiteX365" fmla="*/ 1440273 w 5624068"/>
                <a:gd name="connsiteY365" fmla="*/ 2014539 h 4280108"/>
                <a:gd name="connsiteX366" fmla="*/ 1336377 w 5624068"/>
                <a:gd name="connsiteY366" fmla="*/ 2019189 h 4280108"/>
                <a:gd name="connsiteX367" fmla="*/ 1305619 w 5624068"/>
                <a:gd name="connsiteY367" fmla="*/ 2025000 h 4280108"/>
                <a:gd name="connsiteX368" fmla="*/ 1264848 w 5624068"/>
                <a:gd name="connsiteY368" fmla="*/ 2032511 h 4280108"/>
                <a:gd name="connsiteX369" fmla="*/ 1181337 w 5624068"/>
                <a:gd name="connsiteY369" fmla="*/ 1950878 h 4280108"/>
                <a:gd name="connsiteX370" fmla="*/ 1177940 w 5624068"/>
                <a:gd name="connsiteY370" fmla="*/ 1931655 h 4280108"/>
                <a:gd name="connsiteX371" fmla="*/ 1219605 w 5624068"/>
                <a:gd name="connsiteY371" fmla="*/ 1878723 h 4280108"/>
                <a:gd name="connsiteX372" fmla="*/ 1253403 w 5624068"/>
                <a:gd name="connsiteY372" fmla="*/ 1855029 h 4280108"/>
                <a:gd name="connsiteX373" fmla="*/ 1271822 w 5624068"/>
                <a:gd name="connsiteY373" fmla="*/ 1834732 h 4280108"/>
                <a:gd name="connsiteX374" fmla="*/ 1351398 w 5624068"/>
                <a:gd name="connsiteY374" fmla="*/ 1807730 h 4280108"/>
                <a:gd name="connsiteX375" fmla="*/ 1422570 w 5624068"/>
                <a:gd name="connsiteY375" fmla="*/ 1805137 h 4280108"/>
                <a:gd name="connsiteX376" fmla="*/ 1550249 w 5624068"/>
                <a:gd name="connsiteY376" fmla="*/ 1819980 h 4280108"/>
                <a:gd name="connsiteX377" fmla="*/ 1563661 w 5624068"/>
                <a:gd name="connsiteY377" fmla="*/ 1793782 h 4280108"/>
                <a:gd name="connsiteX378" fmla="*/ 1518240 w 5624068"/>
                <a:gd name="connsiteY378" fmla="*/ 1749076 h 4280108"/>
                <a:gd name="connsiteX379" fmla="*/ 1431511 w 5624068"/>
                <a:gd name="connsiteY379" fmla="*/ 1688813 h 4280108"/>
                <a:gd name="connsiteX380" fmla="*/ 1435445 w 5624068"/>
                <a:gd name="connsiteY380" fmla="*/ 1658771 h 4280108"/>
                <a:gd name="connsiteX381" fmla="*/ 1442061 w 5624068"/>
                <a:gd name="connsiteY381" fmla="*/ 1605392 h 4280108"/>
                <a:gd name="connsiteX382" fmla="*/ 1375539 w 5624068"/>
                <a:gd name="connsiteY382" fmla="*/ 1640083 h 4280108"/>
                <a:gd name="connsiteX383" fmla="*/ 1406207 w 5624068"/>
                <a:gd name="connsiteY383" fmla="*/ 1660291 h 4280108"/>
                <a:gd name="connsiteX384" fmla="*/ 1421139 w 5624068"/>
                <a:gd name="connsiteY384" fmla="*/ 1695161 h 4280108"/>
                <a:gd name="connsiteX385" fmla="*/ 1367760 w 5624068"/>
                <a:gd name="connsiteY385" fmla="*/ 1718050 h 4280108"/>
                <a:gd name="connsiteX386" fmla="*/ 1332085 w 5624068"/>
                <a:gd name="connsiteY386" fmla="*/ 1705801 h 4280108"/>
                <a:gd name="connsiteX387" fmla="*/ 1317153 w 5624068"/>
                <a:gd name="connsiteY387" fmla="*/ 1650098 h 4280108"/>
                <a:gd name="connsiteX388" fmla="*/ 1296589 w 5624068"/>
                <a:gd name="connsiteY388" fmla="*/ 1628102 h 4280108"/>
                <a:gd name="connsiteX389" fmla="*/ 1278617 w 5624068"/>
                <a:gd name="connsiteY389" fmla="*/ 1643481 h 4280108"/>
                <a:gd name="connsiteX390" fmla="*/ 1219605 w 5624068"/>
                <a:gd name="connsiteY390" fmla="*/ 1792262 h 4280108"/>
                <a:gd name="connsiteX391" fmla="*/ 1233554 w 5624068"/>
                <a:gd name="connsiteY391" fmla="*/ 1827579 h 4280108"/>
                <a:gd name="connsiteX392" fmla="*/ 1227116 w 5624068"/>
                <a:gd name="connsiteY392" fmla="*/ 1858337 h 4280108"/>
                <a:gd name="connsiteX393" fmla="*/ 1133323 w 5624068"/>
                <a:gd name="connsiteY393" fmla="*/ 1868798 h 4280108"/>
                <a:gd name="connsiteX394" fmla="*/ 1118034 w 5624068"/>
                <a:gd name="connsiteY394" fmla="*/ 1881495 h 4280108"/>
                <a:gd name="connsiteX395" fmla="*/ 1086740 w 5624068"/>
                <a:gd name="connsiteY395" fmla="*/ 1882657 h 4280108"/>
                <a:gd name="connsiteX396" fmla="*/ 1124471 w 5624068"/>
                <a:gd name="connsiteY396" fmla="*/ 1949269 h 4280108"/>
                <a:gd name="connsiteX397" fmla="*/ 1116603 w 5624068"/>
                <a:gd name="connsiteY397" fmla="*/ 1971890 h 4280108"/>
                <a:gd name="connsiteX398" fmla="*/ 1103817 w 5624068"/>
                <a:gd name="connsiteY398" fmla="*/ 1967777 h 4280108"/>
                <a:gd name="connsiteX399" fmla="*/ 1078693 w 5624068"/>
                <a:gd name="connsiteY399" fmla="*/ 1961339 h 4280108"/>
                <a:gd name="connsiteX400" fmla="*/ 989281 w 5624068"/>
                <a:gd name="connsiteY400" fmla="*/ 1858516 h 4280108"/>
                <a:gd name="connsiteX401" fmla="*/ 952801 w 5624068"/>
                <a:gd name="connsiteY401" fmla="*/ 1807730 h 4280108"/>
                <a:gd name="connsiteX402" fmla="*/ 863122 w 5624068"/>
                <a:gd name="connsiteY402" fmla="*/ 1733161 h 4280108"/>
                <a:gd name="connsiteX403" fmla="*/ 816360 w 5624068"/>
                <a:gd name="connsiteY403" fmla="*/ 1696145 h 4280108"/>
                <a:gd name="connsiteX404" fmla="*/ 807239 w 5624068"/>
                <a:gd name="connsiteY404" fmla="*/ 1702135 h 4280108"/>
                <a:gd name="connsiteX405" fmla="*/ 808938 w 5624068"/>
                <a:gd name="connsiteY405" fmla="*/ 1718050 h 4280108"/>
                <a:gd name="connsiteX406" fmla="*/ 895220 w 5624068"/>
                <a:gd name="connsiteY406" fmla="*/ 1823824 h 4280108"/>
                <a:gd name="connsiteX407" fmla="*/ 957451 w 5624068"/>
                <a:gd name="connsiteY407" fmla="*/ 1870497 h 4280108"/>
                <a:gd name="connsiteX408" fmla="*/ 949672 w 5624068"/>
                <a:gd name="connsiteY408" fmla="*/ 1898572 h 4280108"/>
                <a:gd name="connsiteX409" fmla="*/ 941178 w 5624068"/>
                <a:gd name="connsiteY409" fmla="*/ 1916812 h 4280108"/>
                <a:gd name="connsiteX410" fmla="*/ 926693 w 5624068"/>
                <a:gd name="connsiteY410" fmla="*/ 1968224 h 4280108"/>
                <a:gd name="connsiteX411" fmla="*/ 900049 w 5624068"/>
                <a:gd name="connsiteY411" fmla="*/ 1975109 h 4280108"/>
                <a:gd name="connsiteX412" fmla="*/ 894326 w 5624068"/>
                <a:gd name="connsiteY412" fmla="*/ 1951683 h 4280108"/>
                <a:gd name="connsiteX413" fmla="*/ 847296 w 5624068"/>
                <a:gd name="connsiteY413" fmla="*/ 1871570 h 4280108"/>
                <a:gd name="connsiteX414" fmla="*/ 739823 w 5624068"/>
                <a:gd name="connsiteY414" fmla="*/ 1777330 h 4280108"/>
                <a:gd name="connsiteX415" fmla="*/ 685639 w 5624068"/>
                <a:gd name="connsiteY415" fmla="*/ 1769909 h 4280108"/>
                <a:gd name="connsiteX416" fmla="*/ 603828 w 5624068"/>
                <a:gd name="connsiteY416" fmla="*/ 1789490 h 4280108"/>
                <a:gd name="connsiteX417" fmla="*/ 571103 w 5624068"/>
                <a:gd name="connsiteY417" fmla="*/ 1812201 h 4280108"/>
                <a:gd name="connsiteX418" fmla="*/ 533998 w 5624068"/>
                <a:gd name="connsiteY418" fmla="*/ 1870050 h 4280108"/>
                <a:gd name="connsiteX419" fmla="*/ 488934 w 5624068"/>
                <a:gd name="connsiteY419" fmla="*/ 1947123 h 4280108"/>
                <a:gd name="connsiteX420" fmla="*/ 411951 w 5624068"/>
                <a:gd name="connsiteY420" fmla="*/ 2040200 h 4280108"/>
                <a:gd name="connsiteX421" fmla="*/ 328172 w 5624068"/>
                <a:gd name="connsiteY421" fmla="*/ 2064967 h 4280108"/>
                <a:gd name="connsiteX422" fmla="*/ 313241 w 5624068"/>
                <a:gd name="connsiteY422" fmla="*/ 2060050 h 4280108"/>
                <a:gd name="connsiteX423" fmla="*/ 246629 w 5624068"/>
                <a:gd name="connsiteY423" fmla="*/ 2035372 h 4280108"/>
                <a:gd name="connsiteX424" fmla="*/ 234201 w 5624068"/>
                <a:gd name="connsiteY424" fmla="*/ 2004078 h 4280108"/>
                <a:gd name="connsiteX425" fmla="*/ 227137 w 5624068"/>
                <a:gd name="connsiteY425" fmla="*/ 1923071 h 4280108"/>
                <a:gd name="connsiteX426" fmla="*/ 226690 w 5624068"/>
                <a:gd name="connsiteY426" fmla="*/ 1827043 h 4280108"/>
                <a:gd name="connsiteX427" fmla="*/ 290351 w 5624068"/>
                <a:gd name="connsiteY427" fmla="*/ 1767137 h 4280108"/>
                <a:gd name="connsiteX428" fmla="*/ 396930 w 5624068"/>
                <a:gd name="connsiteY428" fmla="*/ 1775900 h 4280108"/>
                <a:gd name="connsiteX429" fmla="*/ 437344 w 5624068"/>
                <a:gd name="connsiteY429" fmla="*/ 1746394 h 4280108"/>
                <a:gd name="connsiteX430" fmla="*/ 374040 w 5624068"/>
                <a:gd name="connsiteY430" fmla="*/ 1607180 h 4280108"/>
                <a:gd name="connsiteX431" fmla="*/ 358483 w 5624068"/>
                <a:gd name="connsiteY431" fmla="*/ 1595825 h 4280108"/>
                <a:gd name="connsiteX432" fmla="*/ 355711 w 5624068"/>
                <a:gd name="connsiteY432" fmla="*/ 1581787 h 4280108"/>
                <a:gd name="connsiteX433" fmla="*/ 389330 w 5624068"/>
                <a:gd name="connsiteY433" fmla="*/ 1553712 h 4280108"/>
                <a:gd name="connsiteX434" fmla="*/ 411057 w 5624068"/>
                <a:gd name="connsiteY434" fmla="*/ 1551477 h 4280108"/>
                <a:gd name="connsiteX435" fmla="*/ 485268 w 5624068"/>
                <a:gd name="connsiteY435" fmla="*/ 1508559 h 4280108"/>
                <a:gd name="connsiteX436" fmla="*/ 554205 w 5624068"/>
                <a:gd name="connsiteY436" fmla="*/ 1435957 h 4280108"/>
                <a:gd name="connsiteX437" fmla="*/ 580760 w 5624068"/>
                <a:gd name="connsiteY437" fmla="*/ 1384277 h 4280108"/>
                <a:gd name="connsiteX438" fmla="*/ 667847 w 5624068"/>
                <a:gd name="connsiteY438" fmla="*/ 1345562 h 4280108"/>
                <a:gd name="connsiteX439" fmla="*/ 680722 w 5624068"/>
                <a:gd name="connsiteY439" fmla="*/ 1324461 h 4280108"/>
                <a:gd name="connsiteX440" fmla="*/ 674284 w 5624068"/>
                <a:gd name="connsiteY440" fmla="*/ 1284851 h 4280108"/>
                <a:gd name="connsiteX441" fmla="*/ 673301 w 5624068"/>
                <a:gd name="connsiteY441" fmla="*/ 1265628 h 4280108"/>
                <a:gd name="connsiteX442" fmla="*/ 726054 w 5624068"/>
                <a:gd name="connsiteY442" fmla="*/ 1206795 h 4280108"/>
                <a:gd name="connsiteX443" fmla="*/ 756275 w 5624068"/>
                <a:gd name="connsiteY443" fmla="*/ 1228522 h 4280108"/>
                <a:gd name="connsiteX444" fmla="*/ 746708 w 5624068"/>
                <a:gd name="connsiteY444" fmla="*/ 1257044 h 4280108"/>
                <a:gd name="connsiteX445" fmla="*/ 734190 w 5624068"/>
                <a:gd name="connsiteY445" fmla="*/ 1292630 h 4280108"/>
                <a:gd name="connsiteX446" fmla="*/ 773353 w 5624068"/>
                <a:gd name="connsiteY446" fmla="*/ 1315162 h 4280108"/>
                <a:gd name="connsiteX447" fmla="*/ 799103 w 5624068"/>
                <a:gd name="connsiteY447" fmla="*/ 1316861 h 4280108"/>
                <a:gd name="connsiteX448" fmla="*/ 880288 w 5624068"/>
                <a:gd name="connsiteY448" fmla="*/ 1305148 h 4280108"/>
                <a:gd name="connsiteX449" fmla="*/ 954500 w 5624068"/>
                <a:gd name="connsiteY449" fmla="*/ 1298889 h 4280108"/>
                <a:gd name="connsiteX450" fmla="*/ 970683 w 5624068"/>
                <a:gd name="connsiteY450" fmla="*/ 1295581 h 4280108"/>
                <a:gd name="connsiteX451" fmla="*/ 986330 w 5624068"/>
                <a:gd name="connsiteY451" fmla="*/ 1237284 h 4280108"/>
                <a:gd name="connsiteX452" fmla="*/ 994825 w 5624068"/>
                <a:gd name="connsiteY452" fmla="*/ 1190701 h 4280108"/>
                <a:gd name="connsiteX453" fmla="*/ 1061436 w 5624068"/>
                <a:gd name="connsiteY453" fmla="*/ 1182922 h 4280108"/>
                <a:gd name="connsiteX454" fmla="*/ 1057055 w 5624068"/>
                <a:gd name="connsiteY454" fmla="*/ 1141793 h 4280108"/>
                <a:gd name="connsiteX455" fmla="*/ 1061257 w 5624068"/>
                <a:gd name="connsiteY455" fmla="*/ 1084301 h 4280108"/>
                <a:gd name="connsiteX456" fmla="*/ 1110076 w 5624068"/>
                <a:gd name="connsiteY456" fmla="*/ 1070532 h 4280108"/>
                <a:gd name="connsiteX457" fmla="*/ 1188401 w 5624068"/>
                <a:gd name="connsiteY457" fmla="*/ 1049699 h 4280108"/>
                <a:gd name="connsiteX458" fmla="*/ 1102745 w 5624068"/>
                <a:gd name="connsiteY458" fmla="*/ 1046212 h 4280108"/>
                <a:gd name="connsiteX459" fmla="*/ 1076457 w 5624068"/>
                <a:gd name="connsiteY459" fmla="*/ 1058998 h 4280108"/>
                <a:gd name="connsiteX460" fmla="*/ 993394 w 5624068"/>
                <a:gd name="connsiteY460" fmla="*/ 1006066 h 4280108"/>
                <a:gd name="connsiteX461" fmla="*/ 989997 w 5624068"/>
                <a:gd name="connsiteY461" fmla="*/ 976918 h 4280108"/>
                <a:gd name="connsiteX462" fmla="*/ 1026387 w 5624068"/>
                <a:gd name="connsiteY462" fmla="*/ 869982 h 4280108"/>
                <a:gd name="connsiteX463" fmla="*/ 1063582 w 5624068"/>
                <a:gd name="connsiteY463" fmla="*/ 828852 h 4280108"/>
                <a:gd name="connsiteX464" fmla="*/ 1064566 w 5624068"/>
                <a:gd name="connsiteY464" fmla="*/ 795770 h 4280108"/>
                <a:gd name="connsiteX465" fmla="*/ 1036133 w 5624068"/>
                <a:gd name="connsiteY465" fmla="*/ 789422 h 4280108"/>
                <a:gd name="connsiteX466" fmla="*/ 998848 w 5624068"/>
                <a:gd name="connsiteY466" fmla="*/ 834575 h 4280108"/>
                <a:gd name="connsiteX467" fmla="*/ 941625 w 5624068"/>
                <a:gd name="connsiteY467" fmla="*/ 915582 h 4280108"/>
                <a:gd name="connsiteX468" fmla="*/ 926693 w 5624068"/>
                <a:gd name="connsiteY468" fmla="*/ 1027257 h 4280108"/>
                <a:gd name="connsiteX469" fmla="*/ 943056 w 5624068"/>
                <a:gd name="connsiteY469" fmla="*/ 1047553 h 4280108"/>
                <a:gd name="connsiteX470" fmla="*/ 916858 w 5624068"/>
                <a:gd name="connsiteY470" fmla="*/ 1093958 h 4280108"/>
                <a:gd name="connsiteX471" fmla="*/ 918378 w 5624068"/>
                <a:gd name="connsiteY471" fmla="*/ 1123553 h 4280108"/>
                <a:gd name="connsiteX472" fmla="*/ 901389 w 5624068"/>
                <a:gd name="connsiteY472" fmla="*/ 1175769 h 4280108"/>
                <a:gd name="connsiteX473" fmla="*/ 864731 w 5624068"/>
                <a:gd name="connsiteY473" fmla="*/ 1249087 h 4280108"/>
                <a:gd name="connsiteX474" fmla="*/ 840500 w 5624068"/>
                <a:gd name="connsiteY474" fmla="*/ 1273675 h 4280108"/>
                <a:gd name="connsiteX475" fmla="*/ 806613 w 5624068"/>
                <a:gd name="connsiteY475" fmla="*/ 1288428 h 4280108"/>
                <a:gd name="connsiteX476" fmla="*/ 790519 w 5624068"/>
                <a:gd name="connsiteY476" fmla="*/ 1263482 h 4280108"/>
                <a:gd name="connsiteX477" fmla="*/ 737856 w 5624068"/>
                <a:gd name="connsiteY477" fmla="*/ 1113539 h 4280108"/>
                <a:gd name="connsiteX478" fmla="*/ 614915 w 5624068"/>
                <a:gd name="connsiteY478" fmla="*/ 1152880 h 4280108"/>
                <a:gd name="connsiteX479" fmla="*/ 610623 w 5624068"/>
                <a:gd name="connsiteY479" fmla="*/ 1144654 h 4280108"/>
                <a:gd name="connsiteX480" fmla="*/ 604722 w 5624068"/>
                <a:gd name="connsiteY480" fmla="*/ 1099501 h 4280108"/>
                <a:gd name="connsiteX481" fmla="*/ 595602 w 5624068"/>
                <a:gd name="connsiteY481" fmla="*/ 1013308 h 4280108"/>
                <a:gd name="connsiteX482" fmla="*/ 590059 w 5624068"/>
                <a:gd name="connsiteY482" fmla="*/ 984429 h 4280108"/>
                <a:gd name="connsiteX483" fmla="*/ 597390 w 5624068"/>
                <a:gd name="connsiteY483" fmla="*/ 980226 h 4280108"/>
                <a:gd name="connsiteX484" fmla="*/ 601861 w 5624068"/>
                <a:gd name="connsiteY484" fmla="*/ 968424 h 4280108"/>
                <a:gd name="connsiteX485" fmla="*/ 608209 w 5624068"/>
                <a:gd name="connsiteY485" fmla="*/ 962165 h 4280108"/>
                <a:gd name="connsiteX486" fmla="*/ 620191 w 5624068"/>
                <a:gd name="connsiteY486" fmla="*/ 939723 h 4280108"/>
                <a:gd name="connsiteX487" fmla="*/ 673301 w 5624068"/>
                <a:gd name="connsiteY487" fmla="*/ 883393 h 4280108"/>
                <a:gd name="connsiteX488" fmla="*/ 674910 w 5624068"/>
                <a:gd name="connsiteY488" fmla="*/ 881248 h 4280108"/>
                <a:gd name="connsiteX489" fmla="*/ 735174 w 5624068"/>
                <a:gd name="connsiteY489" fmla="*/ 849775 h 4280108"/>
                <a:gd name="connsiteX490" fmla="*/ 749658 w 5624068"/>
                <a:gd name="connsiteY490" fmla="*/ 852457 h 4280108"/>
                <a:gd name="connsiteX491" fmla="*/ 745188 w 5624068"/>
                <a:gd name="connsiteY491" fmla="*/ 812848 h 4280108"/>
                <a:gd name="connsiteX492" fmla="*/ 782651 w 5624068"/>
                <a:gd name="connsiteY492" fmla="*/ 769036 h 4280108"/>
                <a:gd name="connsiteX493" fmla="*/ 794364 w 5624068"/>
                <a:gd name="connsiteY493" fmla="*/ 764476 h 4280108"/>
                <a:gd name="connsiteX494" fmla="*/ 796778 w 5624068"/>
                <a:gd name="connsiteY494" fmla="*/ 754820 h 4280108"/>
                <a:gd name="connsiteX495" fmla="*/ 800980 w 5624068"/>
                <a:gd name="connsiteY495" fmla="*/ 730053 h 4280108"/>
                <a:gd name="connsiteX496" fmla="*/ 820383 w 5624068"/>
                <a:gd name="connsiteY496" fmla="*/ 708057 h 4280108"/>
                <a:gd name="connsiteX497" fmla="*/ 823959 w 5624068"/>
                <a:gd name="connsiteY497" fmla="*/ 691337 h 4280108"/>
                <a:gd name="connsiteX498" fmla="*/ 839964 w 5624068"/>
                <a:gd name="connsiteY498" fmla="*/ 659954 h 4280108"/>
                <a:gd name="connsiteX499" fmla="*/ 858830 w 5624068"/>
                <a:gd name="connsiteY499" fmla="*/ 648867 h 4280108"/>
                <a:gd name="connsiteX500" fmla="*/ 940015 w 5624068"/>
                <a:gd name="connsiteY500" fmla="*/ 571526 h 4280108"/>
                <a:gd name="connsiteX501" fmla="*/ 967018 w 5624068"/>
                <a:gd name="connsiteY501" fmla="*/ 571168 h 4280108"/>
                <a:gd name="connsiteX502" fmla="*/ 974976 w 5624068"/>
                <a:gd name="connsiteY502" fmla="*/ 555789 h 4280108"/>
                <a:gd name="connsiteX503" fmla="*/ 1016284 w 5624068"/>
                <a:gd name="connsiteY503" fmla="*/ 549978 h 4280108"/>
                <a:gd name="connsiteX504" fmla="*/ 1034881 w 5624068"/>
                <a:gd name="connsiteY504" fmla="*/ 540947 h 4280108"/>
                <a:gd name="connsiteX505" fmla="*/ 1042749 w 5624068"/>
                <a:gd name="connsiteY505" fmla="*/ 538444 h 4280108"/>
                <a:gd name="connsiteX506" fmla="*/ 1107394 w 5624068"/>
                <a:gd name="connsiteY506" fmla="*/ 519667 h 4280108"/>
                <a:gd name="connsiteX507" fmla="*/ 1149060 w 5624068"/>
                <a:gd name="connsiteY507" fmla="*/ 524495 h 4280108"/>
                <a:gd name="connsiteX508" fmla="*/ 1198058 w 5624068"/>
                <a:gd name="connsiteY508" fmla="*/ 538801 h 4280108"/>
                <a:gd name="connsiteX509" fmla="*/ 1184020 w 5624068"/>
                <a:gd name="connsiteY509" fmla="*/ 567234 h 4280108"/>
                <a:gd name="connsiteX510" fmla="*/ 1220678 w 5624068"/>
                <a:gd name="connsiteY510" fmla="*/ 567949 h 4280108"/>
                <a:gd name="connsiteX511" fmla="*/ 1245714 w 5624068"/>
                <a:gd name="connsiteY511" fmla="*/ 570095 h 4280108"/>
                <a:gd name="connsiteX512" fmla="*/ 1303295 w 5624068"/>
                <a:gd name="connsiteY512" fmla="*/ 599959 h 4280108"/>
                <a:gd name="connsiteX513" fmla="*/ 1336020 w 5624068"/>
                <a:gd name="connsiteY513" fmla="*/ 605860 h 4280108"/>
                <a:gd name="connsiteX514" fmla="*/ 1358730 w 5624068"/>
                <a:gd name="connsiteY514" fmla="*/ 608900 h 4280108"/>
                <a:gd name="connsiteX515" fmla="*/ 1460033 w 5624068"/>
                <a:gd name="connsiteY515" fmla="*/ 683112 h 4280108"/>
                <a:gd name="connsiteX516" fmla="*/ 1467544 w 5624068"/>
                <a:gd name="connsiteY516" fmla="*/ 711902 h 4280108"/>
                <a:gd name="connsiteX517" fmla="*/ 1445012 w 5624068"/>
                <a:gd name="connsiteY517" fmla="*/ 755177 h 4280108"/>
                <a:gd name="connsiteX518" fmla="*/ 1261182 w 5624068"/>
                <a:gd name="connsiteY518" fmla="*/ 724509 h 4280108"/>
                <a:gd name="connsiteX519" fmla="*/ 1263775 w 5624068"/>
                <a:gd name="connsiteY519" fmla="*/ 731662 h 4280108"/>
                <a:gd name="connsiteX520" fmla="*/ 1322697 w 5624068"/>
                <a:gd name="connsiteY520" fmla="*/ 817050 h 4280108"/>
                <a:gd name="connsiteX521" fmla="*/ 1350951 w 5624068"/>
                <a:gd name="connsiteY521" fmla="*/ 850579 h 4280108"/>
                <a:gd name="connsiteX522" fmla="*/ 1380636 w 5624068"/>
                <a:gd name="connsiteY522" fmla="*/ 853351 h 4280108"/>
                <a:gd name="connsiteX523" fmla="*/ 1369638 w 5624068"/>
                <a:gd name="connsiteY523" fmla="*/ 830730 h 4280108"/>
                <a:gd name="connsiteX524" fmla="*/ 1361234 w 5624068"/>
                <a:gd name="connsiteY524" fmla="*/ 804711 h 4280108"/>
                <a:gd name="connsiteX525" fmla="*/ 1390560 w 5624068"/>
                <a:gd name="connsiteY525" fmla="*/ 799257 h 4280108"/>
                <a:gd name="connsiteX526" fmla="*/ 1411572 w 5624068"/>
                <a:gd name="connsiteY526" fmla="*/ 808288 h 4280108"/>
                <a:gd name="connsiteX527" fmla="*/ 1435087 w 5624068"/>
                <a:gd name="connsiteY527" fmla="*/ 785398 h 4280108"/>
                <a:gd name="connsiteX528" fmla="*/ 1449483 w 5624068"/>
                <a:gd name="connsiteY528" fmla="*/ 753568 h 4280108"/>
                <a:gd name="connsiteX529" fmla="*/ 1473623 w 5624068"/>
                <a:gd name="connsiteY529" fmla="*/ 730589 h 4280108"/>
                <a:gd name="connsiteX530" fmla="*/ 1515647 w 5624068"/>
                <a:gd name="connsiteY530" fmla="*/ 725582 h 4280108"/>
                <a:gd name="connsiteX531" fmla="*/ 1523515 w 5624068"/>
                <a:gd name="connsiteY531" fmla="*/ 723436 h 4280108"/>
                <a:gd name="connsiteX532" fmla="*/ 1513054 w 5624068"/>
                <a:gd name="connsiteY532" fmla="*/ 696970 h 4280108"/>
                <a:gd name="connsiteX533" fmla="*/ 1506169 w 5624068"/>
                <a:gd name="connsiteY533" fmla="*/ 661832 h 4280108"/>
                <a:gd name="connsiteX534" fmla="*/ 1488913 w 5624068"/>
                <a:gd name="connsiteY534" fmla="*/ 620166 h 4280108"/>
                <a:gd name="connsiteX535" fmla="*/ 1534245 w 5624068"/>
                <a:gd name="connsiteY535" fmla="*/ 618288 h 4280108"/>
                <a:gd name="connsiteX536" fmla="*/ 1562767 w 5624068"/>
                <a:gd name="connsiteY536" fmla="*/ 620434 h 4280108"/>
                <a:gd name="connsiteX537" fmla="*/ 1585209 w 5624068"/>
                <a:gd name="connsiteY537" fmla="*/ 638316 h 4280108"/>
                <a:gd name="connsiteX538" fmla="*/ 1575821 w 5624068"/>
                <a:gd name="connsiteY538" fmla="*/ 672829 h 4280108"/>
                <a:gd name="connsiteX539" fmla="*/ 1563840 w 5624068"/>
                <a:gd name="connsiteY539" fmla="*/ 684810 h 4280108"/>
                <a:gd name="connsiteX540" fmla="*/ 1580292 w 5624068"/>
                <a:gd name="connsiteY540" fmla="*/ 699384 h 4280108"/>
                <a:gd name="connsiteX541" fmla="*/ 1596922 w 5624068"/>
                <a:gd name="connsiteY541" fmla="*/ 694467 h 4280108"/>
                <a:gd name="connsiteX542" fmla="*/ 1609619 w 5624068"/>
                <a:gd name="connsiteY542" fmla="*/ 668090 h 4280108"/>
                <a:gd name="connsiteX543" fmla="*/ 1652000 w 5624068"/>
                <a:gd name="connsiteY543" fmla="*/ 629733 h 4280108"/>
                <a:gd name="connsiteX544" fmla="*/ 1738014 w 5624068"/>
                <a:gd name="connsiteY544" fmla="*/ 585742 h 4280108"/>
                <a:gd name="connsiteX545" fmla="*/ 1759562 w 5624068"/>
                <a:gd name="connsiteY545" fmla="*/ 580825 h 4280108"/>
                <a:gd name="connsiteX546" fmla="*/ 1767698 w 5624068"/>
                <a:gd name="connsiteY546" fmla="*/ 584669 h 4280108"/>
                <a:gd name="connsiteX547" fmla="*/ 1759652 w 5624068"/>
                <a:gd name="connsiteY547" fmla="*/ 634472 h 4280108"/>
                <a:gd name="connsiteX548" fmla="*/ 1781557 w 5624068"/>
                <a:gd name="connsiteY548" fmla="*/ 602373 h 4280108"/>
                <a:gd name="connsiteX549" fmla="*/ 1808291 w 5624068"/>
                <a:gd name="connsiteY549" fmla="*/ 599065 h 4280108"/>
                <a:gd name="connsiteX550" fmla="*/ 1816696 w 5624068"/>
                <a:gd name="connsiteY550" fmla="*/ 600227 h 4280108"/>
                <a:gd name="connsiteX551" fmla="*/ 1841016 w 5624068"/>
                <a:gd name="connsiteY551" fmla="*/ 589051 h 4280108"/>
                <a:gd name="connsiteX552" fmla="*/ 1849421 w 5624068"/>
                <a:gd name="connsiteY552" fmla="*/ 586458 h 4280108"/>
                <a:gd name="connsiteX553" fmla="*/ 1880894 w 5624068"/>
                <a:gd name="connsiteY553" fmla="*/ 583865 h 4280108"/>
                <a:gd name="connsiteX554" fmla="*/ 1898954 w 5624068"/>
                <a:gd name="connsiteY554" fmla="*/ 576980 h 4280108"/>
                <a:gd name="connsiteX555" fmla="*/ 1930964 w 5624068"/>
                <a:gd name="connsiteY555" fmla="*/ 545596 h 4280108"/>
                <a:gd name="connsiteX556" fmla="*/ 2018587 w 5624068"/>
                <a:gd name="connsiteY556" fmla="*/ 556684 h 4280108"/>
                <a:gd name="connsiteX557" fmla="*/ 2102992 w 5624068"/>
                <a:gd name="connsiteY557" fmla="*/ 599959 h 4280108"/>
                <a:gd name="connsiteX558" fmla="*/ 2075632 w 5624068"/>
                <a:gd name="connsiteY558" fmla="*/ 551945 h 4280108"/>
                <a:gd name="connsiteX559" fmla="*/ 2063919 w 5624068"/>
                <a:gd name="connsiteY559" fmla="*/ 546222 h 4280108"/>
                <a:gd name="connsiteX560" fmla="*/ 2050418 w 5624068"/>
                <a:gd name="connsiteY560" fmla="*/ 520651 h 4280108"/>
                <a:gd name="connsiteX561" fmla="*/ 2070535 w 5624068"/>
                <a:gd name="connsiteY561" fmla="*/ 435441 h 4280108"/>
                <a:gd name="connsiteX562" fmla="*/ 2092710 w 5624068"/>
                <a:gd name="connsiteY562" fmla="*/ 404416 h 4280108"/>
                <a:gd name="connsiteX563" fmla="*/ 2098790 w 5624068"/>
                <a:gd name="connsiteY563" fmla="*/ 362839 h 4280108"/>
                <a:gd name="connsiteX564" fmla="*/ 2153777 w 5624068"/>
                <a:gd name="connsiteY564" fmla="*/ 355686 h 4280108"/>
                <a:gd name="connsiteX565" fmla="*/ 2196606 w 5624068"/>
                <a:gd name="connsiteY565" fmla="*/ 376251 h 4280108"/>
                <a:gd name="connsiteX566" fmla="*/ 2200897 w 5624068"/>
                <a:gd name="connsiteY566" fmla="*/ 411300 h 4280108"/>
                <a:gd name="connsiteX567" fmla="*/ 2204832 w 5624068"/>
                <a:gd name="connsiteY567" fmla="*/ 447959 h 4280108"/>
                <a:gd name="connsiteX568" fmla="*/ 2213057 w 5624068"/>
                <a:gd name="connsiteY568" fmla="*/ 468881 h 4280108"/>
                <a:gd name="connsiteX569" fmla="*/ 2244798 w 5624068"/>
                <a:gd name="connsiteY569" fmla="*/ 575013 h 4280108"/>
                <a:gd name="connsiteX570" fmla="*/ 2241401 w 5624068"/>
                <a:gd name="connsiteY570" fmla="*/ 621865 h 4280108"/>
                <a:gd name="connsiteX571" fmla="*/ 2168530 w 5624068"/>
                <a:gd name="connsiteY571" fmla="*/ 697149 h 4280108"/>
                <a:gd name="connsiteX572" fmla="*/ 2259372 w 5624068"/>
                <a:gd name="connsiteY572" fmla="*/ 622043 h 4280108"/>
                <a:gd name="connsiteX573" fmla="*/ 2289504 w 5624068"/>
                <a:gd name="connsiteY573" fmla="*/ 569916 h 4280108"/>
                <a:gd name="connsiteX574" fmla="*/ 2339485 w 5624068"/>
                <a:gd name="connsiteY574" fmla="*/ 591554 h 4280108"/>
                <a:gd name="connsiteX575" fmla="*/ 2285123 w 5624068"/>
                <a:gd name="connsiteY575" fmla="*/ 564731 h 4280108"/>
                <a:gd name="connsiteX576" fmla="*/ 2229509 w 5624068"/>
                <a:gd name="connsiteY576" fmla="*/ 511888 h 4280108"/>
                <a:gd name="connsiteX577" fmla="*/ 2213504 w 5624068"/>
                <a:gd name="connsiteY577" fmla="*/ 449390 h 4280108"/>
                <a:gd name="connsiteX578" fmla="*/ 2206083 w 5624068"/>
                <a:gd name="connsiteY578" fmla="*/ 424891 h 4280108"/>
                <a:gd name="connsiteX579" fmla="*/ 2238361 w 5624068"/>
                <a:gd name="connsiteY579" fmla="*/ 369545 h 4280108"/>
                <a:gd name="connsiteX580" fmla="*/ 2251952 w 5624068"/>
                <a:gd name="connsiteY580" fmla="*/ 349338 h 4280108"/>
                <a:gd name="connsiteX581" fmla="*/ 2274930 w 5624068"/>
                <a:gd name="connsiteY581" fmla="*/ 357832 h 4280108"/>
                <a:gd name="connsiteX582" fmla="*/ 2277970 w 5624068"/>
                <a:gd name="connsiteY582" fmla="*/ 386533 h 4280108"/>
                <a:gd name="connsiteX583" fmla="*/ 2273232 w 5624068"/>
                <a:gd name="connsiteY583" fmla="*/ 397710 h 4280108"/>
                <a:gd name="connsiteX584" fmla="*/ 2283693 w 5624068"/>
                <a:gd name="connsiteY584" fmla="*/ 387875 h 4280108"/>
                <a:gd name="connsiteX585" fmla="*/ 2297462 w 5624068"/>
                <a:gd name="connsiteY585" fmla="*/ 386176 h 4280108"/>
                <a:gd name="connsiteX586" fmla="*/ 2318116 w 5624068"/>
                <a:gd name="connsiteY586" fmla="*/ 373122 h 4280108"/>
                <a:gd name="connsiteX587" fmla="*/ 2342078 w 5624068"/>
                <a:gd name="connsiteY587" fmla="*/ 353451 h 4280108"/>
                <a:gd name="connsiteX588" fmla="*/ 2389735 w 5624068"/>
                <a:gd name="connsiteY588" fmla="*/ 380185 h 4280108"/>
                <a:gd name="connsiteX589" fmla="*/ 2446600 w 5624068"/>
                <a:gd name="connsiteY589" fmla="*/ 397442 h 4280108"/>
                <a:gd name="connsiteX590" fmla="*/ 2462158 w 5624068"/>
                <a:gd name="connsiteY590" fmla="*/ 424533 h 4280108"/>
                <a:gd name="connsiteX591" fmla="*/ 2479415 w 5624068"/>
                <a:gd name="connsiteY591" fmla="*/ 505004 h 4280108"/>
                <a:gd name="connsiteX592" fmla="*/ 2470115 w 5624068"/>
                <a:gd name="connsiteY592" fmla="*/ 419794 h 4280108"/>
                <a:gd name="connsiteX593" fmla="*/ 2444723 w 5624068"/>
                <a:gd name="connsiteY593" fmla="*/ 396369 h 4280108"/>
                <a:gd name="connsiteX594" fmla="*/ 2387231 w 5624068"/>
                <a:gd name="connsiteY594" fmla="*/ 352825 h 4280108"/>
                <a:gd name="connsiteX595" fmla="*/ 2413965 w 5624068"/>
                <a:gd name="connsiteY595" fmla="*/ 291668 h 4280108"/>
                <a:gd name="connsiteX596" fmla="*/ 2448568 w 5624068"/>
                <a:gd name="connsiteY596" fmla="*/ 286929 h 4280108"/>
                <a:gd name="connsiteX597" fmla="*/ 2518755 w 5624068"/>
                <a:gd name="connsiteY597" fmla="*/ 268689 h 4280108"/>
                <a:gd name="connsiteX598" fmla="*/ 2537174 w 5624068"/>
                <a:gd name="connsiteY598" fmla="*/ 288359 h 4280108"/>
                <a:gd name="connsiteX599" fmla="*/ 2527607 w 5624068"/>
                <a:gd name="connsiteY599" fmla="*/ 300519 h 4280108"/>
                <a:gd name="connsiteX600" fmla="*/ 2538605 w 5624068"/>
                <a:gd name="connsiteY600" fmla="*/ 290505 h 4280108"/>
                <a:gd name="connsiteX601" fmla="*/ 2531452 w 5624068"/>
                <a:gd name="connsiteY601" fmla="*/ 258496 h 4280108"/>
                <a:gd name="connsiteX602" fmla="*/ 2547546 w 5624068"/>
                <a:gd name="connsiteY602" fmla="*/ 194388 h 4280108"/>
                <a:gd name="connsiteX603" fmla="*/ 2571150 w 5624068"/>
                <a:gd name="connsiteY603" fmla="*/ 177757 h 4280108"/>
                <a:gd name="connsiteX604" fmla="*/ 2626139 w 5624068"/>
                <a:gd name="connsiteY604" fmla="*/ 156746 h 4280108"/>
                <a:gd name="connsiteX605" fmla="*/ 2695522 w 5624068"/>
                <a:gd name="connsiteY605" fmla="*/ 125541 h 4280108"/>
                <a:gd name="connsiteX606" fmla="*/ 2708934 w 5624068"/>
                <a:gd name="connsiteY606" fmla="*/ 121339 h 4280108"/>
                <a:gd name="connsiteX607" fmla="*/ 2794501 w 5624068"/>
                <a:gd name="connsiteY607" fmla="*/ 128313 h 4280108"/>
                <a:gd name="connsiteX608" fmla="*/ 2819446 w 5624068"/>
                <a:gd name="connsiteY608" fmla="*/ 108106 h 4280108"/>
                <a:gd name="connsiteX609" fmla="*/ 2836524 w 5624068"/>
                <a:gd name="connsiteY609" fmla="*/ 89687 h 4280108"/>
                <a:gd name="connsiteX610" fmla="*/ 2889098 w 5624068"/>
                <a:gd name="connsiteY610" fmla="*/ 90939 h 4280108"/>
                <a:gd name="connsiteX611" fmla="*/ 2897235 w 5624068"/>
                <a:gd name="connsiteY611" fmla="*/ 29424 h 4280108"/>
                <a:gd name="connsiteX612" fmla="*/ 2902242 w 5624068"/>
                <a:gd name="connsiteY612" fmla="*/ 25221 h 4280108"/>
                <a:gd name="connsiteX613" fmla="*/ 2944355 w 5624068"/>
                <a:gd name="connsiteY613" fmla="*/ 1885 h 4280108"/>
                <a:gd name="connsiteX614" fmla="*/ 2960717 w 5624068"/>
                <a:gd name="connsiteY614" fmla="*/ 43461 h 4280108"/>
                <a:gd name="connsiteX615" fmla="*/ 2983516 w 5624068"/>
                <a:gd name="connsiteY615" fmla="*/ 60181 h 4280108"/>
                <a:gd name="connsiteX616" fmla="*/ 2997465 w 5624068"/>
                <a:gd name="connsiteY616" fmla="*/ 68318 h 4280108"/>
                <a:gd name="connsiteX617" fmla="*/ 3037789 w 5624068"/>
                <a:gd name="connsiteY617" fmla="*/ 55979 h 4280108"/>
                <a:gd name="connsiteX618" fmla="*/ 3067474 w 5624068"/>
                <a:gd name="connsiteY618" fmla="*/ 56247 h 4280108"/>
                <a:gd name="connsiteX619" fmla="*/ 3077131 w 5624068"/>
                <a:gd name="connsiteY619" fmla="*/ 58035 h 4280108"/>
                <a:gd name="connsiteX620" fmla="*/ 3124340 w 5624068"/>
                <a:gd name="connsiteY620" fmla="*/ 57678 h 4280108"/>
                <a:gd name="connsiteX621" fmla="*/ 3178345 w 5624068"/>
                <a:gd name="connsiteY621" fmla="*/ 67602 h 4280108"/>
                <a:gd name="connsiteX622" fmla="*/ 3218580 w 5624068"/>
                <a:gd name="connsiteY622" fmla="*/ 112755 h 4280108"/>
                <a:gd name="connsiteX623" fmla="*/ 3187643 w 5624068"/>
                <a:gd name="connsiteY623" fmla="*/ 132336 h 4280108"/>
                <a:gd name="connsiteX624" fmla="*/ 3185855 w 5624068"/>
                <a:gd name="connsiteY624" fmla="*/ 189470 h 4280108"/>
                <a:gd name="connsiteX625" fmla="*/ 3126486 w 5624068"/>
                <a:gd name="connsiteY625" fmla="*/ 220228 h 4280108"/>
                <a:gd name="connsiteX626" fmla="*/ 3102881 w 5624068"/>
                <a:gd name="connsiteY626" fmla="*/ 232298 h 4280108"/>
                <a:gd name="connsiteX627" fmla="*/ 3028133 w 5624068"/>
                <a:gd name="connsiteY627" fmla="*/ 269047 h 4280108"/>
                <a:gd name="connsiteX628" fmla="*/ 3010519 w 5624068"/>
                <a:gd name="connsiteY628" fmla="*/ 286929 h 4280108"/>
                <a:gd name="connsiteX629" fmla="*/ 3004260 w 5624068"/>
                <a:gd name="connsiteY629" fmla="*/ 295512 h 4280108"/>
                <a:gd name="connsiteX630" fmla="*/ 3011145 w 5624068"/>
                <a:gd name="connsiteY630" fmla="*/ 294350 h 4280108"/>
                <a:gd name="connsiteX631" fmla="*/ 3038862 w 5624068"/>
                <a:gd name="connsiteY631" fmla="*/ 272534 h 4280108"/>
                <a:gd name="connsiteX632" fmla="*/ 3073286 w 5624068"/>
                <a:gd name="connsiteY632" fmla="*/ 267169 h 4280108"/>
                <a:gd name="connsiteX633" fmla="*/ 3095102 w 5624068"/>
                <a:gd name="connsiteY633" fmla="*/ 262341 h 4280108"/>
                <a:gd name="connsiteX634" fmla="*/ 3131314 w 5624068"/>
                <a:gd name="connsiteY634" fmla="*/ 265828 h 4280108"/>
                <a:gd name="connsiteX635" fmla="*/ 3134354 w 5624068"/>
                <a:gd name="connsiteY635" fmla="*/ 262698 h 4280108"/>
                <a:gd name="connsiteX636" fmla="*/ 3120227 w 5624068"/>
                <a:gd name="connsiteY636" fmla="*/ 266096 h 4280108"/>
                <a:gd name="connsiteX637" fmla="*/ 3100289 w 5624068"/>
                <a:gd name="connsiteY637" fmla="*/ 253936 h 4280108"/>
                <a:gd name="connsiteX638" fmla="*/ 3112538 w 5624068"/>
                <a:gd name="connsiteY638" fmla="*/ 232924 h 4280108"/>
                <a:gd name="connsiteX639" fmla="*/ 3220815 w 5624068"/>
                <a:gd name="connsiteY639" fmla="*/ 234444 h 4280108"/>
                <a:gd name="connsiteX640" fmla="*/ 3227342 w 5624068"/>
                <a:gd name="connsiteY640" fmla="*/ 266096 h 4280108"/>
                <a:gd name="connsiteX641" fmla="*/ 3257474 w 5624068"/>
                <a:gd name="connsiteY641" fmla="*/ 247409 h 4280108"/>
                <a:gd name="connsiteX642" fmla="*/ 3306829 w 5624068"/>
                <a:gd name="connsiteY642" fmla="*/ 249465 h 4280108"/>
                <a:gd name="connsiteX643" fmla="*/ 3345097 w 5624068"/>
                <a:gd name="connsiteY643" fmla="*/ 246604 h 4280108"/>
                <a:gd name="connsiteX644" fmla="*/ 3359671 w 5624068"/>
                <a:gd name="connsiteY644" fmla="*/ 248571 h 4280108"/>
                <a:gd name="connsiteX645" fmla="*/ 3419487 w 5624068"/>
                <a:gd name="connsiteY645" fmla="*/ 265470 h 4280108"/>
                <a:gd name="connsiteX646" fmla="*/ 3445774 w 5624068"/>
                <a:gd name="connsiteY646" fmla="*/ 265381 h 4280108"/>
                <a:gd name="connsiteX647" fmla="*/ 3520523 w 5624068"/>
                <a:gd name="connsiteY647" fmla="*/ 220317 h 4280108"/>
                <a:gd name="connsiteX648" fmla="*/ 3587224 w 5624068"/>
                <a:gd name="connsiteY648" fmla="*/ 239720 h 4280108"/>
                <a:gd name="connsiteX649" fmla="*/ 3600278 w 5624068"/>
                <a:gd name="connsiteY649" fmla="*/ 240167 h 4280108"/>
                <a:gd name="connsiteX650" fmla="*/ 3642927 w 5624068"/>
                <a:gd name="connsiteY650" fmla="*/ 262788 h 4280108"/>
                <a:gd name="connsiteX651" fmla="*/ 3574974 w 5624068"/>
                <a:gd name="connsiteY651" fmla="*/ 310444 h 4280108"/>
                <a:gd name="connsiteX652" fmla="*/ 3634433 w 5624068"/>
                <a:gd name="connsiteY652" fmla="*/ 318759 h 4280108"/>
                <a:gd name="connsiteX653" fmla="*/ 3674400 w 5624068"/>
                <a:gd name="connsiteY653" fmla="*/ 344599 h 4280108"/>
                <a:gd name="connsiteX654" fmla="*/ 3705426 w 5624068"/>
                <a:gd name="connsiteY654" fmla="*/ 372138 h 4280108"/>
                <a:gd name="connsiteX655" fmla="*/ 3728583 w 5624068"/>
                <a:gd name="connsiteY655" fmla="*/ 378486 h 4280108"/>
                <a:gd name="connsiteX656" fmla="*/ 3733501 w 5624068"/>
                <a:gd name="connsiteY656" fmla="*/ 357922 h 4280108"/>
                <a:gd name="connsiteX657" fmla="*/ 3752456 w 5624068"/>
                <a:gd name="connsiteY657" fmla="*/ 323945 h 4280108"/>
                <a:gd name="connsiteX658" fmla="*/ 3781426 w 5624068"/>
                <a:gd name="connsiteY658" fmla="*/ 344689 h 4280108"/>
                <a:gd name="connsiteX659" fmla="*/ 3832122 w 5624068"/>
                <a:gd name="connsiteY659" fmla="*/ 350769 h 4280108"/>
                <a:gd name="connsiteX660" fmla="*/ 3837039 w 5624068"/>
                <a:gd name="connsiteY660" fmla="*/ 341202 h 4280108"/>
                <a:gd name="connsiteX661" fmla="*/ 3868602 w 5624068"/>
                <a:gd name="connsiteY661" fmla="*/ 344689 h 4280108"/>
                <a:gd name="connsiteX662" fmla="*/ 3889792 w 5624068"/>
                <a:gd name="connsiteY662" fmla="*/ 347192 h 4280108"/>
                <a:gd name="connsiteX663" fmla="*/ 3914738 w 5624068"/>
                <a:gd name="connsiteY663" fmla="*/ 354613 h 4280108"/>
                <a:gd name="connsiteX664" fmla="*/ 3949787 w 5624068"/>
                <a:gd name="connsiteY664" fmla="*/ 336731 h 4280108"/>
                <a:gd name="connsiteX665" fmla="*/ 3944333 w 5624068"/>
                <a:gd name="connsiteY665" fmla="*/ 322425 h 4280108"/>
                <a:gd name="connsiteX666" fmla="*/ 3953811 w 5624068"/>
                <a:gd name="connsiteY666" fmla="*/ 293188 h 4280108"/>
                <a:gd name="connsiteX667" fmla="*/ 3966776 w 5624068"/>
                <a:gd name="connsiteY667" fmla="*/ 287197 h 4280108"/>
                <a:gd name="connsiteX668" fmla="*/ 4033208 w 5624068"/>
                <a:gd name="connsiteY668" fmla="*/ 264397 h 4280108"/>
                <a:gd name="connsiteX669" fmla="*/ 4130309 w 5624068"/>
                <a:gd name="connsiteY669" fmla="*/ 285945 h 428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Lst>
              <a:rect l="l" t="t" r="r" b="b"/>
              <a:pathLst>
                <a:path w="5624068" h="4280108">
                  <a:moveTo>
                    <a:pt x="4129773" y="285409"/>
                  </a:moveTo>
                  <a:cubicBezTo>
                    <a:pt x="4133617" y="285945"/>
                    <a:pt x="4137463" y="286571"/>
                    <a:pt x="4141307" y="287108"/>
                  </a:cubicBezTo>
                  <a:cubicBezTo>
                    <a:pt x="4147745" y="313931"/>
                    <a:pt x="4124855" y="298284"/>
                    <a:pt x="4119401" y="304990"/>
                  </a:cubicBezTo>
                  <a:cubicBezTo>
                    <a:pt x="4133439" y="308566"/>
                    <a:pt x="4149443" y="292741"/>
                    <a:pt x="4166342" y="302039"/>
                  </a:cubicBezTo>
                  <a:cubicBezTo>
                    <a:pt x="4178502" y="318223"/>
                    <a:pt x="4159011" y="325555"/>
                    <a:pt x="4156507" y="341023"/>
                  </a:cubicBezTo>
                  <a:cubicBezTo>
                    <a:pt x="4186907" y="290863"/>
                    <a:pt x="4225533" y="278524"/>
                    <a:pt x="4274441" y="309729"/>
                  </a:cubicBezTo>
                  <a:cubicBezTo>
                    <a:pt x="4279180" y="314736"/>
                    <a:pt x="4276676" y="321799"/>
                    <a:pt x="4279359" y="327343"/>
                  </a:cubicBezTo>
                  <a:lnTo>
                    <a:pt x="4279537" y="330204"/>
                  </a:lnTo>
                  <a:cubicBezTo>
                    <a:pt x="4276051" y="335211"/>
                    <a:pt x="4271312" y="340308"/>
                    <a:pt x="4280163" y="344689"/>
                  </a:cubicBezTo>
                  <a:cubicBezTo>
                    <a:pt x="4286422" y="347818"/>
                    <a:pt x="4292681" y="351037"/>
                    <a:pt x="4298940" y="354166"/>
                  </a:cubicBezTo>
                  <a:cubicBezTo>
                    <a:pt x="4305020" y="351573"/>
                    <a:pt x="4312530" y="348712"/>
                    <a:pt x="4317716" y="352289"/>
                  </a:cubicBezTo>
                  <a:cubicBezTo>
                    <a:pt x="4355895" y="378576"/>
                    <a:pt x="4396309" y="374642"/>
                    <a:pt x="4437617" y="362750"/>
                  </a:cubicBezTo>
                  <a:cubicBezTo>
                    <a:pt x="4450135" y="362482"/>
                    <a:pt x="4462741" y="363465"/>
                    <a:pt x="4474991" y="359352"/>
                  </a:cubicBezTo>
                  <a:cubicBezTo>
                    <a:pt x="4518535" y="351305"/>
                    <a:pt x="4558591" y="363465"/>
                    <a:pt x="4597395" y="381616"/>
                  </a:cubicBezTo>
                  <a:cubicBezTo>
                    <a:pt x="4608840" y="386980"/>
                    <a:pt x="4615725" y="394491"/>
                    <a:pt x="4614741" y="409333"/>
                  </a:cubicBezTo>
                  <a:cubicBezTo>
                    <a:pt x="4612327" y="448585"/>
                    <a:pt x="4624130" y="458063"/>
                    <a:pt x="4663471" y="450910"/>
                  </a:cubicBezTo>
                  <a:cubicBezTo>
                    <a:pt x="4671071" y="449479"/>
                    <a:pt x="4678492" y="449300"/>
                    <a:pt x="4686092" y="450910"/>
                  </a:cubicBezTo>
                  <a:cubicBezTo>
                    <a:pt x="4700130" y="455470"/>
                    <a:pt x="4713988" y="454307"/>
                    <a:pt x="4727847" y="449926"/>
                  </a:cubicBezTo>
                  <a:cubicBezTo>
                    <a:pt x="4760035" y="441879"/>
                    <a:pt x="4788915" y="464858"/>
                    <a:pt x="4820656" y="459583"/>
                  </a:cubicBezTo>
                  <a:cubicBezTo>
                    <a:pt x="4830044" y="459136"/>
                    <a:pt x="4837555" y="450463"/>
                    <a:pt x="4847748" y="453234"/>
                  </a:cubicBezTo>
                  <a:cubicBezTo>
                    <a:pt x="4855527" y="455738"/>
                    <a:pt x="4861159" y="461103"/>
                    <a:pt x="4866167" y="467183"/>
                  </a:cubicBezTo>
                  <a:cubicBezTo>
                    <a:pt x="4878327" y="486585"/>
                    <a:pt x="4900322" y="493470"/>
                    <a:pt x="4917935" y="505182"/>
                  </a:cubicBezTo>
                  <a:cubicBezTo>
                    <a:pt x="4931347" y="514124"/>
                    <a:pt x="4940915" y="501070"/>
                    <a:pt x="4943776" y="486585"/>
                  </a:cubicBezTo>
                  <a:cubicBezTo>
                    <a:pt x="4942077" y="475230"/>
                    <a:pt x="4931526" y="471027"/>
                    <a:pt x="4925178" y="463517"/>
                  </a:cubicBezTo>
                  <a:cubicBezTo>
                    <a:pt x="4914360" y="447601"/>
                    <a:pt x="4913287" y="434637"/>
                    <a:pt x="4935818" y="429093"/>
                  </a:cubicBezTo>
                  <a:cubicBezTo>
                    <a:pt x="4953522" y="427573"/>
                    <a:pt x="4971315" y="427484"/>
                    <a:pt x="4989108" y="429272"/>
                  </a:cubicBezTo>
                  <a:cubicBezTo>
                    <a:pt x="5002072" y="431507"/>
                    <a:pt x="5012444" y="437766"/>
                    <a:pt x="5019329" y="449211"/>
                  </a:cubicBezTo>
                  <a:cubicBezTo>
                    <a:pt x="5029343" y="449658"/>
                    <a:pt x="5039447" y="450194"/>
                    <a:pt x="5049550" y="450641"/>
                  </a:cubicBezTo>
                  <a:cubicBezTo>
                    <a:pt x="5075479" y="460119"/>
                    <a:pt x="5100693" y="443846"/>
                    <a:pt x="5126444" y="448496"/>
                  </a:cubicBezTo>
                  <a:cubicBezTo>
                    <a:pt x="5161315" y="459314"/>
                    <a:pt x="5194396" y="475677"/>
                    <a:pt x="5231323" y="480863"/>
                  </a:cubicBezTo>
                  <a:cubicBezTo>
                    <a:pt x="5247328" y="483187"/>
                    <a:pt x="5260651" y="494542"/>
                    <a:pt x="5269681" y="508938"/>
                  </a:cubicBezTo>
                  <a:cubicBezTo>
                    <a:pt x="5273973" y="520204"/>
                    <a:pt x="5281215" y="528251"/>
                    <a:pt x="5293643" y="530844"/>
                  </a:cubicBezTo>
                  <a:cubicBezTo>
                    <a:pt x="5308217" y="537102"/>
                    <a:pt x="5312419" y="552392"/>
                    <a:pt x="5321718" y="563121"/>
                  </a:cubicBezTo>
                  <a:cubicBezTo>
                    <a:pt x="5340495" y="565714"/>
                    <a:pt x="5356679" y="573403"/>
                    <a:pt x="5370269" y="586636"/>
                  </a:cubicBezTo>
                  <a:cubicBezTo>
                    <a:pt x="5379567" y="591375"/>
                    <a:pt x="5390208" y="592269"/>
                    <a:pt x="5399595" y="596829"/>
                  </a:cubicBezTo>
                  <a:cubicBezTo>
                    <a:pt x="5410415" y="608363"/>
                    <a:pt x="5425346" y="611940"/>
                    <a:pt x="5439205" y="617752"/>
                  </a:cubicBezTo>
                  <a:cubicBezTo>
                    <a:pt x="5446359" y="624636"/>
                    <a:pt x="5449667" y="633309"/>
                    <a:pt x="5451455" y="642876"/>
                  </a:cubicBezTo>
                  <a:cubicBezTo>
                    <a:pt x="5455031" y="656020"/>
                    <a:pt x="5446001" y="671220"/>
                    <a:pt x="5460664" y="686062"/>
                  </a:cubicBezTo>
                  <a:cubicBezTo>
                    <a:pt x="5461737" y="672829"/>
                    <a:pt x="5458160" y="660043"/>
                    <a:pt x="5468533" y="651996"/>
                  </a:cubicBezTo>
                  <a:cubicBezTo>
                    <a:pt x="5476043" y="648241"/>
                    <a:pt x="5479798" y="653516"/>
                    <a:pt x="5483822" y="658344"/>
                  </a:cubicBezTo>
                  <a:cubicBezTo>
                    <a:pt x="5492584" y="658613"/>
                    <a:pt x="5501257" y="658792"/>
                    <a:pt x="5510020" y="659060"/>
                  </a:cubicBezTo>
                  <a:cubicBezTo>
                    <a:pt x="5556961" y="654857"/>
                    <a:pt x="5582532" y="693394"/>
                    <a:pt x="5617403" y="713243"/>
                  </a:cubicBezTo>
                  <a:cubicBezTo>
                    <a:pt x="5626255" y="718250"/>
                    <a:pt x="5625897" y="728533"/>
                    <a:pt x="5618654" y="735864"/>
                  </a:cubicBezTo>
                  <a:cubicBezTo>
                    <a:pt x="5597821" y="756965"/>
                    <a:pt x="5581370" y="786292"/>
                    <a:pt x="5545247" y="776189"/>
                  </a:cubicBezTo>
                  <a:cubicBezTo>
                    <a:pt x="5541850" y="780928"/>
                    <a:pt x="5543101" y="784147"/>
                    <a:pt x="5543012" y="787187"/>
                  </a:cubicBezTo>
                  <a:cubicBezTo>
                    <a:pt x="5542297" y="805069"/>
                    <a:pt x="5560000" y="826617"/>
                    <a:pt x="5535233" y="839582"/>
                  </a:cubicBezTo>
                  <a:cubicBezTo>
                    <a:pt x="5519407" y="847897"/>
                    <a:pt x="5481586" y="832429"/>
                    <a:pt x="5466476" y="814457"/>
                  </a:cubicBezTo>
                  <a:cubicBezTo>
                    <a:pt x="5466029" y="789422"/>
                    <a:pt x="5447967" y="808198"/>
                    <a:pt x="5439295" y="803728"/>
                  </a:cubicBezTo>
                  <a:cubicBezTo>
                    <a:pt x="5418194" y="801045"/>
                    <a:pt x="5405497" y="786650"/>
                    <a:pt x="5395214" y="770198"/>
                  </a:cubicBezTo>
                  <a:cubicBezTo>
                    <a:pt x="5389404" y="760900"/>
                    <a:pt x="5384217" y="751958"/>
                    <a:pt x="5372326" y="749991"/>
                  </a:cubicBezTo>
                  <a:cubicBezTo>
                    <a:pt x="5355248" y="751422"/>
                    <a:pt x="5341032" y="748382"/>
                    <a:pt x="5326993" y="735685"/>
                  </a:cubicBezTo>
                  <a:cubicBezTo>
                    <a:pt x="5309469" y="719949"/>
                    <a:pt x="5314744" y="710293"/>
                    <a:pt x="5329855" y="699295"/>
                  </a:cubicBezTo>
                  <a:cubicBezTo>
                    <a:pt x="5324312" y="693036"/>
                    <a:pt x="5317337" y="690890"/>
                    <a:pt x="5309111" y="692231"/>
                  </a:cubicBezTo>
                  <a:cubicBezTo>
                    <a:pt x="5301601" y="698222"/>
                    <a:pt x="5293464" y="702961"/>
                    <a:pt x="5294359" y="715210"/>
                  </a:cubicBezTo>
                  <a:cubicBezTo>
                    <a:pt x="5298651" y="771629"/>
                    <a:pt x="5282646" y="789332"/>
                    <a:pt x="5228463" y="788975"/>
                  </a:cubicBezTo>
                  <a:cubicBezTo>
                    <a:pt x="5222024" y="788975"/>
                    <a:pt x="5215497" y="789332"/>
                    <a:pt x="5209060" y="789511"/>
                  </a:cubicBezTo>
                  <a:cubicBezTo>
                    <a:pt x="5201013" y="794697"/>
                    <a:pt x="5195917" y="775652"/>
                    <a:pt x="5187243" y="786739"/>
                  </a:cubicBezTo>
                  <a:cubicBezTo>
                    <a:pt x="5190552" y="793624"/>
                    <a:pt x="5198063" y="787991"/>
                    <a:pt x="5202175" y="791836"/>
                  </a:cubicBezTo>
                  <a:cubicBezTo>
                    <a:pt x="5204858" y="793267"/>
                    <a:pt x="5206735" y="795412"/>
                    <a:pt x="5207987" y="798184"/>
                  </a:cubicBezTo>
                  <a:cubicBezTo>
                    <a:pt x="5208792" y="801135"/>
                    <a:pt x="5209685" y="804175"/>
                    <a:pt x="5210491" y="807125"/>
                  </a:cubicBezTo>
                  <a:cubicBezTo>
                    <a:pt x="5245898" y="792641"/>
                    <a:pt x="5251799" y="830283"/>
                    <a:pt x="5251710" y="841996"/>
                  </a:cubicBezTo>
                  <a:cubicBezTo>
                    <a:pt x="5251531" y="872753"/>
                    <a:pt x="5274867" y="876598"/>
                    <a:pt x="5290514" y="890278"/>
                  </a:cubicBezTo>
                  <a:cubicBezTo>
                    <a:pt x="5296862" y="895822"/>
                    <a:pt x="5311346" y="899040"/>
                    <a:pt x="5303211" y="911469"/>
                  </a:cubicBezTo>
                  <a:cubicBezTo>
                    <a:pt x="5298114" y="919247"/>
                    <a:pt x="5291676" y="933285"/>
                    <a:pt x="5278085" y="925238"/>
                  </a:cubicBezTo>
                  <a:cubicBezTo>
                    <a:pt x="5228820" y="896179"/>
                    <a:pt x="5189390" y="924433"/>
                    <a:pt x="5151747" y="949021"/>
                  </a:cubicBezTo>
                  <a:cubicBezTo>
                    <a:pt x="5121794" y="968603"/>
                    <a:pt x="5087729" y="983266"/>
                    <a:pt x="5064214" y="1012057"/>
                  </a:cubicBezTo>
                  <a:cubicBezTo>
                    <a:pt x="5060190" y="1021355"/>
                    <a:pt x="5051606" y="1026810"/>
                    <a:pt x="5045080" y="1033962"/>
                  </a:cubicBezTo>
                  <a:cubicBezTo>
                    <a:pt x="5032293" y="1048000"/>
                    <a:pt x="5018523" y="1048358"/>
                    <a:pt x="5006453" y="1033426"/>
                  </a:cubicBezTo>
                  <a:cubicBezTo>
                    <a:pt x="4987677" y="1010179"/>
                    <a:pt x="4966934" y="1010715"/>
                    <a:pt x="4943419" y="1025290"/>
                  </a:cubicBezTo>
                  <a:cubicBezTo>
                    <a:pt x="4928397" y="1034588"/>
                    <a:pt x="4912750" y="1050682"/>
                    <a:pt x="4897550" y="1024574"/>
                  </a:cubicBezTo>
                  <a:cubicBezTo>
                    <a:pt x="4895762" y="1021445"/>
                    <a:pt x="4897997" y="1020819"/>
                    <a:pt x="4896567" y="1022518"/>
                  </a:cubicBezTo>
                  <a:cubicBezTo>
                    <a:pt x="4875912" y="1047464"/>
                    <a:pt x="4850341" y="1035840"/>
                    <a:pt x="4825842" y="1033247"/>
                  </a:cubicBezTo>
                  <a:cubicBezTo>
                    <a:pt x="4823338" y="1032979"/>
                    <a:pt x="4820656" y="1037450"/>
                    <a:pt x="4820209" y="1040579"/>
                  </a:cubicBezTo>
                  <a:cubicBezTo>
                    <a:pt x="4816722" y="1066419"/>
                    <a:pt x="4813682" y="1092259"/>
                    <a:pt x="4799108" y="1114880"/>
                  </a:cubicBezTo>
                  <a:cubicBezTo>
                    <a:pt x="4797856" y="1116758"/>
                    <a:pt x="4798124" y="1119887"/>
                    <a:pt x="4799823" y="1120602"/>
                  </a:cubicBezTo>
                  <a:cubicBezTo>
                    <a:pt x="4838628" y="1136965"/>
                    <a:pt x="4825306" y="1184979"/>
                    <a:pt x="4853113" y="1207957"/>
                  </a:cubicBezTo>
                  <a:cubicBezTo>
                    <a:pt x="4853292" y="1211087"/>
                    <a:pt x="4852844" y="1214127"/>
                    <a:pt x="4851950" y="1217077"/>
                  </a:cubicBezTo>
                  <a:cubicBezTo>
                    <a:pt x="4847033" y="1221906"/>
                    <a:pt x="4820835" y="1274211"/>
                    <a:pt x="4818242" y="1284404"/>
                  </a:cubicBezTo>
                  <a:cubicBezTo>
                    <a:pt x="4815917" y="1293524"/>
                    <a:pt x="4810285" y="1299694"/>
                    <a:pt x="4801254" y="1302644"/>
                  </a:cubicBezTo>
                  <a:cubicBezTo>
                    <a:pt x="4792402" y="1304432"/>
                    <a:pt x="4782209" y="1298978"/>
                    <a:pt x="4774788" y="1307920"/>
                  </a:cubicBezTo>
                  <a:cubicBezTo>
                    <a:pt x="4767188" y="1320705"/>
                    <a:pt x="4764148" y="1335637"/>
                    <a:pt x="4750468" y="1345115"/>
                  </a:cubicBezTo>
                  <a:cubicBezTo>
                    <a:pt x="4737593" y="1354056"/>
                    <a:pt x="4746534" y="1369345"/>
                    <a:pt x="4745193" y="1381684"/>
                  </a:cubicBezTo>
                  <a:cubicBezTo>
                    <a:pt x="4744924" y="1386065"/>
                    <a:pt x="4744656" y="1390536"/>
                    <a:pt x="4742868" y="1394470"/>
                  </a:cubicBezTo>
                  <a:cubicBezTo>
                    <a:pt x="4734553" y="1412263"/>
                    <a:pt x="4726685" y="1433096"/>
                    <a:pt x="4704242" y="1434437"/>
                  </a:cubicBezTo>
                  <a:cubicBezTo>
                    <a:pt x="4681442" y="1435778"/>
                    <a:pt x="4679028" y="1412531"/>
                    <a:pt x="4673395" y="1397599"/>
                  </a:cubicBezTo>
                  <a:cubicBezTo>
                    <a:pt x="4652831" y="1343774"/>
                    <a:pt x="4629405" y="1291289"/>
                    <a:pt x="4606426" y="1238536"/>
                  </a:cubicBezTo>
                  <a:cubicBezTo>
                    <a:pt x="4600435" y="1224767"/>
                    <a:pt x="4601151" y="1211355"/>
                    <a:pt x="4605085" y="1197228"/>
                  </a:cubicBezTo>
                  <a:cubicBezTo>
                    <a:pt x="4611344" y="1174696"/>
                    <a:pt x="4628332" y="1155473"/>
                    <a:pt x="4624219" y="1129365"/>
                  </a:cubicBezTo>
                  <a:cubicBezTo>
                    <a:pt x="4622788" y="1120513"/>
                    <a:pt x="4633875" y="1115595"/>
                    <a:pt x="4641297" y="1111214"/>
                  </a:cubicBezTo>
                  <a:cubicBezTo>
                    <a:pt x="4689221" y="1082960"/>
                    <a:pt x="4725791" y="1043798"/>
                    <a:pt x="4752704" y="995337"/>
                  </a:cubicBezTo>
                  <a:cubicBezTo>
                    <a:pt x="4757621" y="986396"/>
                    <a:pt x="4765042" y="976739"/>
                    <a:pt x="4774341" y="977007"/>
                  </a:cubicBezTo>
                  <a:cubicBezTo>
                    <a:pt x="4809748" y="978080"/>
                    <a:pt x="4808943" y="951972"/>
                    <a:pt x="4813056" y="929083"/>
                  </a:cubicBezTo>
                  <a:cubicBezTo>
                    <a:pt x="4814576" y="920589"/>
                    <a:pt x="4814755" y="911737"/>
                    <a:pt x="4818510" y="903690"/>
                  </a:cubicBezTo>
                  <a:cubicBezTo>
                    <a:pt x="4820746" y="899935"/>
                    <a:pt x="4824054" y="897699"/>
                    <a:pt x="4828167" y="896090"/>
                  </a:cubicBezTo>
                  <a:cubicBezTo>
                    <a:pt x="4829955" y="895464"/>
                    <a:pt x="4832548" y="897073"/>
                    <a:pt x="4833531" y="894212"/>
                  </a:cubicBezTo>
                  <a:cubicBezTo>
                    <a:pt x="4831386" y="894033"/>
                    <a:pt x="4829329" y="893765"/>
                    <a:pt x="4827183" y="893318"/>
                  </a:cubicBezTo>
                  <a:cubicBezTo>
                    <a:pt x="4807602" y="892245"/>
                    <a:pt x="4798840" y="901544"/>
                    <a:pt x="4801075" y="920767"/>
                  </a:cubicBezTo>
                  <a:cubicBezTo>
                    <a:pt x="4803042" y="937487"/>
                    <a:pt x="4798482" y="949111"/>
                    <a:pt x="4779080" y="948306"/>
                  </a:cubicBezTo>
                  <a:cubicBezTo>
                    <a:pt x="4762092" y="947591"/>
                    <a:pt x="4754849" y="960466"/>
                    <a:pt x="4745640" y="970927"/>
                  </a:cubicBezTo>
                  <a:cubicBezTo>
                    <a:pt x="4735447" y="982551"/>
                    <a:pt x="4723376" y="988899"/>
                    <a:pt x="4708266" y="980941"/>
                  </a:cubicBezTo>
                  <a:cubicBezTo>
                    <a:pt x="4693781" y="973252"/>
                    <a:pt x="4680548" y="965563"/>
                    <a:pt x="4682426" y="944372"/>
                  </a:cubicBezTo>
                  <a:cubicBezTo>
                    <a:pt x="4684840" y="916207"/>
                    <a:pt x="4675362" y="910485"/>
                    <a:pt x="4648270" y="921572"/>
                  </a:cubicBezTo>
                  <a:cubicBezTo>
                    <a:pt x="4620822" y="932838"/>
                    <a:pt x="4594624" y="945803"/>
                    <a:pt x="4584609" y="977454"/>
                  </a:cubicBezTo>
                  <a:cubicBezTo>
                    <a:pt x="4582285" y="984786"/>
                    <a:pt x="4575668" y="989614"/>
                    <a:pt x="4569946" y="994621"/>
                  </a:cubicBezTo>
                  <a:cubicBezTo>
                    <a:pt x="4557250" y="1005708"/>
                    <a:pt x="4554657" y="1015097"/>
                    <a:pt x="4568336" y="1029492"/>
                  </a:cubicBezTo>
                  <a:cubicBezTo>
                    <a:pt x="4584073" y="1045944"/>
                    <a:pt x="4579513" y="1056941"/>
                    <a:pt x="4556624" y="1058104"/>
                  </a:cubicBezTo>
                  <a:cubicBezTo>
                    <a:pt x="4536149" y="1059087"/>
                    <a:pt x="4516836" y="1069816"/>
                    <a:pt x="4495913" y="1064720"/>
                  </a:cubicBezTo>
                  <a:cubicBezTo>
                    <a:pt x="4489297" y="1061233"/>
                    <a:pt x="4482770" y="1061322"/>
                    <a:pt x="4476332" y="1065346"/>
                  </a:cubicBezTo>
                  <a:cubicBezTo>
                    <a:pt x="4469626" y="1073751"/>
                    <a:pt x="4461490" y="1077238"/>
                    <a:pt x="4450940" y="1073482"/>
                  </a:cubicBezTo>
                  <a:cubicBezTo>
                    <a:pt x="4442713" y="1063289"/>
                    <a:pt x="4447720" y="1057031"/>
                    <a:pt x="4457377" y="1052113"/>
                  </a:cubicBezTo>
                  <a:cubicBezTo>
                    <a:pt x="4457645" y="1051934"/>
                    <a:pt x="4457645" y="1051934"/>
                    <a:pt x="4456483" y="1050146"/>
                  </a:cubicBezTo>
                  <a:cubicBezTo>
                    <a:pt x="4454069" y="1046480"/>
                    <a:pt x="4457556" y="1051308"/>
                    <a:pt x="4453264" y="1049967"/>
                  </a:cubicBezTo>
                  <a:cubicBezTo>
                    <a:pt x="4441194" y="1047464"/>
                    <a:pt x="4430911" y="1041026"/>
                    <a:pt x="4420539" y="1035214"/>
                  </a:cubicBezTo>
                  <a:cubicBezTo>
                    <a:pt x="4407664" y="1027972"/>
                    <a:pt x="4397471" y="1030028"/>
                    <a:pt x="4384596" y="1038165"/>
                  </a:cubicBezTo>
                  <a:cubicBezTo>
                    <a:pt x="4349726" y="1060071"/>
                    <a:pt x="4311278" y="1061054"/>
                    <a:pt x="4274083" y="1046122"/>
                  </a:cubicBezTo>
                  <a:cubicBezTo>
                    <a:pt x="4234831" y="1030386"/>
                    <a:pt x="4194596" y="1038791"/>
                    <a:pt x="4172154" y="1075181"/>
                  </a:cubicBezTo>
                  <a:cubicBezTo>
                    <a:pt x="4142380" y="1123463"/>
                    <a:pt x="4103844" y="1165129"/>
                    <a:pt x="4072728" y="1212339"/>
                  </a:cubicBezTo>
                  <a:cubicBezTo>
                    <a:pt x="4064771" y="1224409"/>
                    <a:pt x="4052074" y="1231204"/>
                    <a:pt x="4041434" y="1240324"/>
                  </a:cubicBezTo>
                  <a:cubicBezTo>
                    <a:pt x="4058423" y="1262946"/>
                    <a:pt x="4093382" y="1251769"/>
                    <a:pt x="4108851" y="1277788"/>
                  </a:cubicBezTo>
                  <a:cubicBezTo>
                    <a:pt x="4112785" y="1284404"/>
                    <a:pt x="4119938" y="1278145"/>
                    <a:pt x="4124498" y="1272781"/>
                  </a:cubicBezTo>
                  <a:cubicBezTo>
                    <a:pt x="4138982" y="1255882"/>
                    <a:pt x="4156596" y="1258743"/>
                    <a:pt x="4170902" y="1270456"/>
                  </a:cubicBezTo>
                  <a:cubicBezTo>
                    <a:pt x="4192540" y="1288160"/>
                    <a:pt x="4210154" y="1308188"/>
                    <a:pt x="4222672" y="1335637"/>
                  </a:cubicBezTo>
                  <a:cubicBezTo>
                    <a:pt x="4237782" y="1368809"/>
                    <a:pt x="4240107" y="1398315"/>
                    <a:pt x="4230719" y="1432023"/>
                  </a:cubicBezTo>
                  <a:cubicBezTo>
                    <a:pt x="4224996" y="1452677"/>
                    <a:pt x="4235547" y="1472794"/>
                    <a:pt x="4241806" y="1492376"/>
                  </a:cubicBezTo>
                  <a:cubicBezTo>
                    <a:pt x="4251999" y="1524206"/>
                    <a:pt x="4249406" y="1551477"/>
                    <a:pt x="4223477" y="1575886"/>
                  </a:cubicBezTo>
                  <a:cubicBezTo>
                    <a:pt x="4208455" y="1590013"/>
                    <a:pt x="4202107" y="1609147"/>
                    <a:pt x="4196206" y="1629891"/>
                  </a:cubicBezTo>
                  <a:cubicBezTo>
                    <a:pt x="4184225" y="1671735"/>
                    <a:pt x="4161067" y="1709467"/>
                    <a:pt x="4135227" y="1744606"/>
                  </a:cubicBezTo>
                  <a:cubicBezTo>
                    <a:pt x="4123335" y="1760789"/>
                    <a:pt x="4105453" y="1759895"/>
                    <a:pt x="4087392" y="1755603"/>
                  </a:cubicBezTo>
                  <a:cubicBezTo>
                    <a:pt x="4076126" y="1752921"/>
                    <a:pt x="4063340" y="1740224"/>
                    <a:pt x="4054041" y="1749076"/>
                  </a:cubicBezTo>
                  <a:cubicBezTo>
                    <a:pt x="4042776" y="1759716"/>
                    <a:pt x="4031420" y="1774380"/>
                    <a:pt x="4030794" y="1790921"/>
                  </a:cubicBezTo>
                  <a:cubicBezTo>
                    <a:pt x="4029900" y="1815151"/>
                    <a:pt x="4019439" y="1832229"/>
                    <a:pt x="4000484" y="1845551"/>
                  </a:cubicBezTo>
                  <a:cubicBezTo>
                    <a:pt x="3988235" y="1854135"/>
                    <a:pt x="3987251" y="1863702"/>
                    <a:pt x="3997176" y="1875683"/>
                  </a:cubicBezTo>
                  <a:cubicBezTo>
                    <a:pt x="4006921" y="1887396"/>
                    <a:pt x="4016220" y="1899288"/>
                    <a:pt x="4027307" y="1909928"/>
                  </a:cubicBezTo>
                  <a:cubicBezTo>
                    <a:pt x="4050644" y="1932370"/>
                    <a:pt x="4066201" y="1959015"/>
                    <a:pt x="4071119" y="1991829"/>
                  </a:cubicBezTo>
                  <a:cubicBezTo>
                    <a:pt x="4073444" y="2007565"/>
                    <a:pt x="4073891" y="2020351"/>
                    <a:pt x="4054846" y="2024553"/>
                  </a:cubicBezTo>
                  <a:cubicBezTo>
                    <a:pt x="4043848" y="2026967"/>
                    <a:pt x="4035801" y="2034925"/>
                    <a:pt x="4026592" y="2040469"/>
                  </a:cubicBezTo>
                  <a:cubicBezTo>
                    <a:pt x="3999322" y="2056920"/>
                    <a:pt x="3983496" y="2051198"/>
                    <a:pt x="3971425" y="2020977"/>
                  </a:cubicBezTo>
                  <a:cubicBezTo>
                    <a:pt x="3966150" y="2007654"/>
                    <a:pt x="3966776" y="1993259"/>
                    <a:pt x="3962395" y="1979669"/>
                  </a:cubicBezTo>
                  <a:cubicBezTo>
                    <a:pt x="3954347" y="1954902"/>
                    <a:pt x="3949966" y="1929688"/>
                    <a:pt x="3916616" y="1925038"/>
                  </a:cubicBezTo>
                  <a:cubicBezTo>
                    <a:pt x="3903562" y="1923250"/>
                    <a:pt x="3902131" y="1908229"/>
                    <a:pt x="3900611" y="1895801"/>
                  </a:cubicBezTo>
                  <a:cubicBezTo>
                    <a:pt x="3896498" y="1860572"/>
                    <a:pt x="3875934" y="1849754"/>
                    <a:pt x="3844729" y="1865043"/>
                  </a:cubicBezTo>
                  <a:cubicBezTo>
                    <a:pt x="3831049" y="1871749"/>
                    <a:pt x="3818263" y="1892939"/>
                    <a:pt x="3802527" y="1879706"/>
                  </a:cubicBezTo>
                  <a:cubicBezTo>
                    <a:pt x="3788489" y="1867904"/>
                    <a:pt x="3788221" y="1846535"/>
                    <a:pt x="3793586" y="1827579"/>
                  </a:cubicBezTo>
                  <a:cubicBezTo>
                    <a:pt x="3794479" y="1824450"/>
                    <a:pt x="3793765" y="1821052"/>
                    <a:pt x="3789294" y="1817565"/>
                  </a:cubicBezTo>
                  <a:cubicBezTo>
                    <a:pt x="3770070" y="1823377"/>
                    <a:pt x="3763901" y="1844925"/>
                    <a:pt x="3748343" y="1855744"/>
                  </a:cubicBezTo>
                  <a:cubicBezTo>
                    <a:pt x="3744052" y="1858784"/>
                    <a:pt x="3740743" y="1864149"/>
                    <a:pt x="3739044" y="1868888"/>
                  </a:cubicBezTo>
                  <a:cubicBezTo>
                    <a:pt x="3735289" y="1879349"/>
                    <a:pt x="3705604" y="1869961"/>
                    <a:pt x="3720089" y="1893029"/>
                  </a:cubicBezTo>
                  <a:cubicBezTo>
                    <a:pt x="3738419" y="1921998"/>
                    <a:pt x="3759430" y="1929688"/>
                    <a:pt x="3782499" y="1917438"/>
                  </a:cubicBezTo>
                  <a:cubicBezTo>
                    <a:pt x="3793675" y="1911537"/>
                    <a:pt x="3845713" y="1917617"/>
                    <a:pt x="3853670" y="1926737"/>
                  </a:cubicBezTo>
                  <a:cubicBezTo>
                    <a:pt x="3864757" y="1939523"/>
                    <a:pt x="3858051" y="1949000"/>
                    <a:pt x="3845713" y="1955259"/>
                  </a:cubicBezTo>
                  <a:cubicBezTo>
                    <a:pt x="3830870" y="1962770"/>
                    <a:pt x="3817995" y="1972426"/>
                    <a:pt x="3806818" y="1984586"/>
                  </a:cubicBezTo>
                  <a:cubicBezTo>
                    <a:pt x="3793049" y="1999697"/>
                    <a:pt x="3790098" y="2014897"/>
                    <a:pt x="3806550" y="2030097"/>
                  </a:cubicBezTo>
                  <a:cubicBezTo>
                    <a:pt x="3833016" y="2054595"/>
                    <a:pt x="3850451" y="2086963"/>
                    <a:pt x="3877990" y="2110567"/>
                  </a:cubicBezTo>
                  <a:cubicBezTo>
                    <a:pt x="3895067" y="2125141"/>
                    <a:pt x="3891491" y="2147315"/>
                    <a:pt x="3889434" y="2164572"/>
                  </a:cubicBezTo>
                  <a:cubicBezTo>
                    <a:pt x="3887110" y="2183795"/>
                    <a:pt x="3909374" y="2176553"/>
                    <a:pt x="3910714" y="2209814"/>
                  </a:cubicBezTo>
                  <a:cubicBezTo>
                    <a:pt x="3891491" y="2284294"/>
                    <a:pt x="3873787" y="2359489"/>
                    <a:pt x="3806997" y="2409381"/>
                  </a:cubicBezTo>
                  <a:cubicBezTo>
                    <a:pt x="3797162" y="2416712"/>
                    <a:pt x="3786880" y="2422077"/>
                    <a:pt x="3774898" y="2424491"/>
                  </a:cubicBezTo>
                  <a:cubicBezTo>
                    <a:pt x="3737256" y="2432091"/>
                    <a:pt x="3704889" y="2452835"/>
                    <a:pt x="3669929" y="2467140"/>
                  </a:cubicBezTo>
                  <a:cubicBezTo>
                    <a:pt x="3661703" y="2470538"/>
                    <a:pt x="3654819" y="2475813"/>
                    <a:pt x="3651153" y="2484397"/>
                  </a:cubicBezTo>
                  <a:cubicBezTo>
                    <a:pt x="3639351" y="2512383"/>
                    <a:pt x="3627817" y="2501832"/>
                    <a:pt x="3614494" y="2485023"/>
                  </a:cubicBezTo>
                  <a:cubicBezTo>
                    <a:pt x="3595360" y="2460882"/>
                    <a:pt x="3579445" y="2460345"/>
                    <a:pt x="3558523" y="2482430"/>
                  </a:cubicBezTo>
                  <a:cubicBezTo>
                    <a:pt x="3551012" y="2490298"/>
                    <a:pt x="3542786" y="2497451"/>
                    <a:pt x="3535454" y="2505498"/>
                  </a:cubicBezTo>
                  <a:cubicBezTo>
                    <a:pt x="3525798" y="2516138"/>
                    <a:pt x="3520254" y="2529729"/>
                    <a:pt x="3528838" y="2541173"/>
                  </a:cubicBezTo>
                  <a:cubicBezTo>
                    <a:pt x="3548687" y="2567728"/>
                    <a:pt x="3561562" y="2600900"/>
                    <a:pt x="3594376" y="2616011"/>
                  </a:cubicBezTo>
                  <a:cubicBezTo>
                    <a:pt x="3659021" y="2645874"/>
                    <a:pt x="3672969" y="2703276"/>
                    <a:pt x="3665727" y="2765865"/>
                  </a:cubicBezTo>
                  <a:cubicBezTo>
                    <a:pt x="3664028" y="2780528"/>
                    <a:pt x="3658932" y="2795549"/>
                    <a:pt x="3645431" y="2801361"/>
                  </a:cubicBezTo>
                  <a:cubicBezTo>
                    <a:pt x="3616729" y="2813700"/>
                    <a:pt x="3596701" y="2837304"/>
                    <a:pt x="3571219" y="2853488"/>
                  </a:cubicBezTo>
                  <a:cubicBezTo>
                    <a:pt x="3548419" y="2867883"/>
                    <a:pt x="3534113" y="2863770"/>
                    <a:pt x="3527765" y="2837662"/>
                  </a:cubicBezTo>
                  <a:cubicBezTo>
                    <a:pt x="3523205" y="2818796"/>
                    <a:pt x="3512118" y="2809408"/>
                    <a:pt x="3497097" y="2798679"/>
                  </a:cubicBezTo>
                  <a:cubicBezTo>
                    <a:pt x="3464998" y="2775789"/>
                    <a:pt x="3438801" y="2744585"/>
                    <a:pt x="3397224" y="2734302"/>
                  </a:cubicBezTo>
                  <a:cubicBezTo>
                    <a:pt x="3395078" y="2737253"/>
                    <a:pt x="3399906" y="2744853"/>
                    <a:pt x="3398297" y="2751738"/>
                  </a:cubicBezTo>
                  <a:cubicBezTo>
                    <a:pt x="3398118" y="2756655"/>
                    <a:pt x="3397313" y="2761483"/>
                    <a:pt x="3396151" y="2766312"/>
                  </a:cubicBezTo>
                  <a:cubicBezTo>
                    <a:pt x="3387389" y="2815130"/>
                    <a:pt x="3414212" y="2868867"/>
                    <a:pt x="3453017" y="2898730"/>
                  </a:cubicBezTo>
                  <a:cubicBezTo>
                    <a:pt x="3490302" y="2927431"/>
                    <a:pt x="3527586" y="2958994"/>
                    <a:pt x="3537421" y="3009869"/>
                  </a:cubicBezTo>
                  <a:cubicBezTo>
                    <a:pt x="3540014" y="3023370"/>
                    <a:pt x="3549850" y="3032579"/>
                    <a:pt x="3556734" y="3043577"/>
                  </a:cubicBezTo>
                  <a:cubicBezTo>
                    <a:pt x="3565050" y="3056810"/>
                    <a:pt x="3573454" y="3072010"/>
                    <a:pt x="3560847" y="3085511"/>
                  </a:cubicBezTo>
                  <a:cubicBezTo>
                    <a:pt x="3549403" y="3097671"/>
                    <a:pt x="3533935" y="3089803"/>
                    <a:pt x="3520880" y="3085064"/>
                  </a:cubicBezTo>
                  <a:cubicBezTo>
                    <a:pt x="3504428" y="3079073"/>
                    <a:pt x="3493699" y="3063247"/>
                    <a:pt x="3476621" y="3057972"/>
                  </a:cubicBezTo>
                  <a:cubicBezTo>
                    <a:pt x="3464193" y="3051713"/>
                    <a:pt x="3468753" y="3037318"/>
                    <a:pt x="3462405" y="3028109"/>
                  </a:cubicBezTo>
                  <a:cubicBezTo>
                    <a:pt x="3451586" y="3018273"/>
                    <a:pt x="3444434" y="3009064"/>
                    <a:pt x="3442645" y="2991629"/>
                  </a:cubicBezTo>
                  <a:cubicBezTo>
                    <a:pt x="3439694" y="2962570"/>
                    <a:pt x="3420650" y="2938518"/>
                    <a:pt x="3401337" y="2916255"/>
                  </a:cubicBezTo>
                  <a:cubicBezTo>
                    <a:pt x="3393648" y="2907314"/>
                    <a:pt x="3385958" y="2898373"/>
                    <a:pt x="3378269" y="2889431"/>
                  </a:cubicBezTo>
                  <a:cubicBezTo>
                    <a:pt x="3372457" y="2883441"/>
                    <a:pt x="3365483" y="2883351"/>
                    <a:pt x="3358062" y="2885587"/>
                  </a:cubicBezTo>
                  <a:cubicBezTo>
                    <a:pt x="3337944" y="2863234"/>
                    <a:pt x="3357257" y="2837572"/>
                    <a:pt x="3352876" y="2813253"/>
                  </a:cubicBezTo>
                  <a:cubicBezTo>
                    <a:pt x="3350462" y="2800020"/>
                    <a:pt x="3340001" y="2789112"/>
                    <a:pt x="3340716" y="2780170"/>
                  </a:cubicBezTo>
                  <a:cubicBezTo>
                    <a:pt x="3343220" y="2746641"/>
                    <a:pt x="3327573" y="2725451"/>
                    <a:pt x="3307097" y="2701309"/>
                  </a:cubicBezTo>
                  <a:cubicBezTo>
                    <a:pt x="3293238" y="2685036"/>
                    <a:pt x="3293060" y="2657230"/>
                    <a:pt x="3286711" y="2634519"/>
                  </a:cubicBezTo>
                  <a:cubicBezTo>
                    <a:pt x="3268919" y="2621465"/>
                    <a:pt x="3254523" y="2632284"/>
                    <a:pt x="3239770" y="2641046"/>
                  </a:cubicBezTo>
                  <a:lnTo>
                    <a:pt x="3238161" y="2642655"/>
                  </a:lnTo>
                  <a:lnTo>
                    <a:pt x="3238965" y="2644712"/>
                  </a:lnTo>
                  <a:cubicBezTo>
                    <a:pt x="3224481" y="2660627"/>
                    <a:pt x="3210622" y="2658839"/>
                    <a:pt x="3197121" y="2643460"/>
                  </a:cubicBezTo>
                  <a:cubicBezTo>
                    <a:pt x="3196137" y="2629422"/>
                    <a:pt x="3195780" y="2615385"/>
                    <a:pt x="3200787" y="2601794"/>
                  </a:cubicBezTo>
                  <a:cubicBezTo>
                    <a:pt x="3186391" y="2561470"/>
                    <a:pt x="3148213" y="2543677"/>
                    <a:pt x="3120138" y="2516317"/>
                  </a:cubicBezTo>
                  <a:cubicBezTo>
                    <a:pt x="3105832" y="2502369"/>
                    <a:pt x="3101003" y="2483145"/>
                    <a:pt x="3095728" y="2464458"/>
                  </a:cubicBezTo>
                  <a:cubicBezTo>
                    <a:pt x="3088575" y="2457931"/>
                    <a:pt x="3080886" y="2462849"/>
                    <a:pt x="3073376" y="2463296"/>
                  </a:cubicBezTo>
                  <a:cubicBezTo>
                    <a:pt x="3067296" y="2460166"/>
                    <a:pt x="3062110" y="2463832"/>
                    <a:pt x="3056656" y="2465531"/>
                  </a:cubicBezTo>
                  <a:cubicBezTo>
                    <a:pt x="3045837" y="2468839"/>
                    <a:pt x="3033766" y="2461955"/>
                    <a:pt x="3023394" y="2469287"/>
                  </a:cubicBezTo>
                  <a:cubicBezTo>
                    <a:pt x="2991117" y="2450242"/>
                    <a:pt x="2982444" y="2456232"/>
                    <a:pt x="2972788" y="2495663"/>
                  </a:cubicBezTo>
                  <a:cubicBezTo>
                    <a:pt x="2969568" y="2508985"/>
                    <a:pt x="2957587" y="2523470"/>
                    <a:pt x="2945517" y="2530623"/>
                  </a:cubicBezTo>
                  <a:cubicBezTo>
                    <a:pt x="2913329" y="2549757"/>
                    <a:pt x="2897592" y="2582660"/>
                    <a:pt x="2873809" y="2608679"/>
                  </a:cubicBezTo>
                  <a:cubicBezTo>
                    <a:pt x="2866298" y="2618872"/>
                    <a:pt x="2875239" y="2634698"/>
                    <a:pt x="2862096" y="2642924"/>
                  </a:cubicBezTo>
                  <a:cubicBezTo>
                    <a:pt x="2838223" y="2652938"/>
                    <a:pt x="2826331" y="2670820"/>
                    <a:pt x="2827136" y="2696839"/>
                  </a:cubicBezTo>
                  <a:cubicBezTo>
                    <a:pt x="2824186" y="2706406"/>
                    <a:pt x="2822218" y="2715973"/>
                    <a:pt x="2826957" y="2725540"/>
                  </a:cubicBezTo>
                  <a:cubicBezTo>
                    <a:pt x="2829371" y="2731084"/>
                    <a:pt x="2831785" y="2736538"/>
                    <a:pt x="2833574" y="2742349"/>
                  </a:cubicBezTo>
                  <a:cubicBezTo>
                    <a:pt x="2835987" y="2751738"/>
                    <a:pt x="2836166" y="2761126"/>
                    <a:pt x="2834557" y="2770603"/>
                  </a:cubicBezTo>
                  <a:cubicBezTo>
                    <a:pt x="2828924" y="2786072"/>
                    <a:pt x="2824722" y="2801450"/>
                    <a:pt x="2833663" y="2817455"/>
                  </a:cubicBezTo>
                  <a:cubicBezTo>
                    <a:pt x="2837686" y="2824697"/>
                    <a:pt x="2836166" y="2832119"/>
                    <a:pt x="2830623" y="2838556"/>
                  </a:cubicBezTo>
                  <a:cubicBezTo>
                    <a:pt x="2815870" y="2855902"/>
                    <a:pt x="2806303" y="2876735"/>
                    <a:pt x="2791729" y="2894349"/>
                  </a:cubicBezTo>
                  <a:cubicBezTo>
                    <a:pt x="2765621" y="2925732"/>
                    <a:pt x="2752120" y="2925017"/>
                    <a:pt x="2731644" y="2889610"/>
                  </a:cubicBezTo>
                  <a:cubicBezTo>
                    <a:pt x="2728962" y="2884871"/>
                    <a:pt x="2726906" y="2879864"/>
                    <a:pt x="2725743" y="2874589"/>
                  </a:cubicBezTo>
                  <a:cubicBezTo>
                    <a:pt x="2725207" y="2864575"/>
                    <a:pt x="2724849" y="2854382"/>
                    <a:pt x="2716266" y="2847140"/>
                  </a:cubicBezTo>
                  <a:cubicBezTo>
                    <a:pt x="2700261" y="2822373"/>
                    <a:pt x="2671291" y="2805653"/>
                    <a:pt x="2670129" y="2771944"/>
                  </a:cubicBezTo>
                  <a:cubicBezTo>
                    <a:pt x="2662619" y="2764613"/>
                    <a:pt x="2671560" y="2750486"/>
                    <a:pt x="2659042" y="2745210"/>
                  </a:cubicBezTo>
                  <a:cubicBezTo>
                    <a:pt x="2642769" y="2723573"/>
                    <a:pt x="2623278" y="2704081"/>
                    <a:pt x="2612727" y="2678510"/>
                  </a:cubicBezTo>
                  <a:cubicBezTo>
                    <a:pt x="2605574" y="2655084"/>
                    <a:pt x="2598510" y="2631658"/>
                    <a:pt x="2591358" y="2608232"/>
                  </a:cubicBezTo>
                  <a:cubicBezTo>
                    <a:pt x="2585993" y="2599202"/>
                    <a:pt x="2581969" y="2589634"/>
                    <a:pt x="2580181" y="2579263"/>
                  </a:cubicBezTo>
                  <a:cubicBezTo>
                    <a:pt x="2565607" y="2553870"/>
                    <a:pt x="2569988" y="2523291"/>
                    <a:pt x="2558007" y="2497183"/>
                  </a:cubicBezTo>
                  <a:cubicBezTo>
                    <a:pt x="2553894" y="2492981"/>
                    <a:pt x="2547904" y="2489941"/>
                    <a:pt x="2548977" y="2480731"/>
                  </a:cubicBezTo>
                  <a:cubicBezTo>
                    <a:pt x="2544238" y="2489046"/>
                    <a:pt x="2546741" y="2498703"/>
                    <a:pt x="2538426" y="2503084"/>
                  </a:cubicBezTo>
                  <a:cubicBezTo>
                    <a:pt x="2512408" y="2522039"/>
                    <a:pt x="2489697" y="2523202"/>
                    <a:pt x="2472351" y="2491460"/>
                  </a:cubicBezTo>
                  <a:cubicBezTo>
                    <a:pt x="2469311" y="2486006"/>
                    <a:pt x="2464483" y="2479479"/>
                    <a:pt x="2459118" y="2477602"/>
                  </a:cubicBezTo>
                  <a:cubicBezTo>
                    <a:pt x="2422817" y="2464905"/>
                    <a:pt x="2451786" y="2458289"/>
                    <a:pt x="2461353" y="2449884"/>
                  </a:cubicBezTo>
                  <a:cubicBezTo>
                    <a:pt x="2461112" y="2445834"/>
                    <a:pt x="2454674" y="2442168"/>
                    <a:pt x="2442040" y="2438886"/>
                  </a:cubicBezTo>
                  <a:cubicBezTo>
                    <a:pt x="2413607" y="2423865"/>
                    <a:pt x="2387768" y="2403122"/>
                    <a:pt x="2363180" y="2384435"/>
                  </a:cubicBezTo>
                  <a:cubicBezTo>
                    <a:pt x="2326879" y="2356896"/>
                    <a:pt x="2293617" y="2367089"/>
                    <a:pt x="2257763" y="2369145"/>
                  </a:cubicBezTo>
                  <a:cubicBezTo>
                    <a:pt x="2251504" y="2369503"/>
                    <a:pt x="2245246" y="2372096"/>
                    <a:pt x="2239076" y="2373616"/>
                  </a:cubicBezTo>
                  <a:cubicBezTo>
                    <a:pt x="2219495" y="2380232"/>
                    <a:pt x="2198305" y="2371023"/>
                    <a:pt x="2178902" y="2379785"/>
                  </a:cubicBezTo>
                  <a:cubicBezTo>
                    <a:pt x="2158516" y="2383630"/>
                    <a:pt x="2138488" y="2380322"/>
                    <a:pt x="2118371" y="2376656"/>
                  </a:cubicBezTo>
                  <a:cubicBezTo>
                    <a:pt x="2099326" y="2373080"/>
                    <a:pt x="2083679" y="2365390"/>
                    <a:pt x="2076705" y="2345988"/>
                  </a:cubicBezTo>
                  <a:cubicBezTo>
                    <a:pt x="2072413" y="2334007"/>
                    <a:pt x="2064902" y="2328553"/>
                    <a:pt x="2052116" y="2332844"/>
                  </a:cubicBezTo>
                  <a:cubicBezTo>
                    <a:pt x="2021895" y="2346793"/>
                    <a:pt x="1993731" y="2346256"/>
                    <a:pt x="1968159" y="2322204"/>
                  </a:cubicBezTo>
                  <a:cubicBezTo>
                    <a:pt x="1961900" y="2316303"/>
                    <a:pt x="1953585" y="2311743"/>
                    <a:pt x="1944912" y="2310938"/>
                  </a:cubicBezTo>
                  <a:cubicBezTo>
                    <a:pt x="1916032" y="2308167"/>
                    <a:pt x="1902084" y="2288586"/>
                    <a:pt x="1890282" y="2265338"/>
                  </a:cubicBezTo>
                  <a:cubicBezTo>
                    <a:pt x="1881608" y="2248261"/>
                    <a:pt x="1872220" y="2224030"/>
                    <a:pt x="1848348" y="2236012"/>
                  </a:cubicBezTo>
                  <a:cubicBezTo>
                    <a:pt x="1823223" y="2248619"/>
                    <a:pt x="1844771" y="2267753"/>
                    <a:pt x="1850136" y="2283758"/>
                  </a:cubicBezTo>
                  <a:cubicBezTo>
                    <a:pt x="1852192" y="2289927"/>
                    <a:pt x="1854159" y="2297974"/>
                    <a:pt x="1859435" y="2300656"/>
                  </a:cubicBezTo>
                  <a:cubicBezTo>
                    <a:pt x="1889119" y="2316303"/>
                    <a:pt x="1894126" y="2349028"/>
                    <a:pt x="1912188" y="2374599"/>
                  </a:cubicBezTo>
                  <a:cubicBezTo>
                    <a:pt x="1915317" y="2363244"/>
                    <a:pt x="1917463" y="2350369"/>
                    <a:pt x="1931590" y="2350995"/>
                  </a:cubicBezTo>
                  <a:cubicBezTo>
                    <a:pt x="1944912" y="2351621"/>
                    <a:pt x="1948041" y="2363334"/>
                    <a:pt x="1950992" y="2373974"/>
                  </a:cubicBezTo>
                  <a:cubicBezTo>
                    <a:pt x="1951528" y="2376030"/>
                    <a:pt x="1951350" y="2378355"/>
                    <a:pt x="1951886" y="2380411"/>
                  </a:cubicBezTo>
                  <a:cubicBezTo>
                    <a:pt x="1954747" y="2391767"/>
                    <a:pt x="1941157" y="2410811"/>
                    <a:pt x="1960559" y="2413404"/>
                  </a:cubicBezTo>
                  <a:cubicBezTo>
                    <a:pt x="1980051" y="2415997"/>
                    <a:pt x="2003209" y="2415908"/>
                    <a:pt x="2015815" y="2394807"/>
                  </a:cubicBezTo>
                  <a:cubicBezTo>
                    <a:pt x="2024846" y="2379785"/>
                    <a:pt x="2036738" y="2367000"/>
                    <a:pt x="2045590" y="2351978"/>
                  </a:cubicBezTo>
                  <a:cubicBezTo>
                    <a:pt x="2051133" y="2342590"/>
                    <a:pt x="2057034" y="2332308"/>
                    <a:pt x="2071072" y="2339461"/>
                  </a:cubicBezTo>
                  <a:cubicBezTo>
                    <a:pt x="2077599" y="2347597"/>
                    <a:pt x="2077063" y="2357611"/>
                    <a:pt x="2078046" y="2367089"/>
                  </a:cubicBezTo>
                  <a:cubicBezTo>
                    <a:pt x="2080371" y="2388369"/>
                    <a:pt x="2091011" y="2404731"/>
                    <a:pt x="2111128" y="2410632"/>
                  </a:cubicBezTo>
                  <a:cubicBezTo>
                    <a:pt x="2143674" y="2420110"/>
                    <a:pt x="2166206" y="2442820"/>
                    <a:pt x="2190168" y="2464279"/>
                  </a:cubicBezTo>
                  <a:cubicBezTo>
                    <a:pt x="2195354" y="2473757"/>
                    <a:pt x="2195175" y="2483682"/>
                    <a:pt x="2192850" y="2493785"/>
                  </a:cubicBezTo>
                  <a:cubicBezTo>
                    <a:pt x="2170945" y="2548952"/>
                    <a:pt x="2135895" y="2595267"/>
                    <a:pt x="2095213" y="2637738"/>
                  </a:cubicBezTo>
                  <a:cubicBezTo>
                    <a:pt x="2087703" y="2645606"/>
                    <a:pt x="2080281" y="2653742"/>
                    <a:pt x="2070357" y="2658749"/>
                  </a:cubicBezTo>
                  <a:cubicBezTo>
                    <a:pt x="2062041" y="2663041"/>
                    <a:pt x="2053458" y="2666707"/>
                    <a:pt x="2044874" y="2670284"/>
                  </a:cubicBezTo>
                  <a:cubicBezTo>
                    <a:pt x="2015011" y="2706048"/>
                    <a:pt x="1971914" y="2719549"/>
                    <a:pt x="1932931" y="2741187"/>
                  </a:cubicBezTo>
                  <a:cubicBezTo>
                    <a:pt x="1888762" y="2765686"/>
                    <a:pt x="1840032" y="2777130"/>
                    <a:pt x="1796042" y="2800914"/>
                  </a:cubicBezTo>
                  <a:cubicBezTo>
                    <a:pt x="1775656" y="2811911"/>
                    <a:pt x="1747134" y="2797069"/>
                    <a:pt x="1737120" y="2773375"/>
                  </a:cubicBezTo>
                  <a:cubicBezTo>
                    <a:pt x="1729967" y="2756387"/>
                    <a:pt x="1720042" y="2738594"/>
                    <a:pt x="1719237" y="2721159"/>
                  </a:cubicBezTo>
                  <a:cubicBezTo>
                    <a:pt x="1716823" y="2669121"/>
                    <a:pt x="1686960" y="2627813"/>
                    <a:pt x="1655755" y="2596072"/>
                  </a:cubicBezTo>
                  <a:cubicBezTo>
                    <a:pt x="1621600" y="2561380"/>
                    <a:pt x="1586908" y="2532858"/>
                    <a:pt x="1582348" y="2481178"/>
                  </a:cubicBezTo>
                  <a:cubicBezTo>
                    <a:pt x="1581812" y="2475277"/>
                    <a:pt x="1575821" y="2469644"/>
                    <a:pt x="1570546" y="2465889"/>
                  </a:cubicBezTo>
                  <a:cubicBezTo>
                    <a:pt x="1519402" y="2429856"/>
                    <a:pt x="1497765" y="2369414"/>
                    <a:pt x="1454937" y="2326585"/>
                  </a:cubicBezTo>
                  <a:cubicBezTo>
                    <a:pt x="1447248" y="2318896"/>
                    <a:pt x="1449661" y="2307183"/>
                    <a:pt x="1444028" y="2298957"/>
                  </a:cubicBezTo>
                  <a:cubicBezTo>
                    <a:pt x="1441078" y="2311654"/>
                    <a:pt x="1411483" y="2322741"/>
                    <a:pt x="1433746" y="2346614"/>
                  </a:cubicBezTo>
                  <a:cubicBezTo>
                    <a:pt x="1443939" y="2368609"/>
                    <a:pt x="1456636" y="2388637"/>
                    <a:pt x="1474965" y="2404910"/>
                  </a:cubicBezTo>
                  <a:cubicBezTo>
                    <a:pt x="1489271" y="2417607"/>
                    <a:pt x="1499553" y="2432091"/>
                    <a:pt x="1499910" y="2452477"/>
                  </a:cubicBezTo>
                  <a:cubicBezTo>
                    <a:pt x="1500089" y="2462402"/>
                    <a:pt x="1504560" y="2472595"/>
                    <a:pt x="1511981" y="2478675"/>
                  </a:cubicBezTo>
                  <a:cubicBezTo>
                    <a:pt x="1540772" y="2502637"/>
                    <a:pt x="1549445" y="2536256"/>
                    <a:pt x="1558118" y="2570053"/>
                  </a:cubicBezTo>
                  <a:cubicBezTo>
                    <a:pt x="1563929" y="2592585"/>
                    <a:pt x="1572424" y="2613060"/>
                    <a:pt x="1592005" y="2627992"/>
                  </a:cubicBezTo>
                  <a:cubicBezTo>
                    <a:pt x="1602466" y="2635950"/>
                    <a:pt x="1610066" y="2648110"/>
                    <a:pt x="1612837" y="2660627"/>
                  </a:cubicBezTo>
                  <a:cubicBezTo>
                    <a:pt x="1620348" y="2693888"/>
                    <a:pt x="1640645" y="2715526"/>
                    <a:pt x="1669256" y="2731799"/>
                  </a:cubicBezTo>
                  <a:cubicBezTo>
                    <a:pt x="1696616" y="2747356"/>
                    <a:pt x="1713604" y="2776415"/>
                    <a:pt x="1743825" y="2789022"/>
                  </a:cubicBezTo>
                  <a:cubicBezTo>
                    <a:pt x="1755896" y="2794029"/>
                    <a:pt x="1756075" y="2806815"/>
                    <a:pt x="1755806" y="2820048"/>
                  </a:cubicBezTo>
                  <a:cubicBezTo>
                    <a:pt x="1755181" y="2855992"/>
                    <a:pt x="1783792" y="2874768"/>
                    <a:pt x="1814550" y="2857333"/>
                  </a:cubicBezTo>
                  <a:cubicBezTo>
                    <a:pt x="1858272" y="2832476"/>
                    <a:pt x="1908342" y="2830688"/>
                    <a:pt x="1954390" y="2814594"/>
                  </a:cubicBezTo>
                  <a:cubicBezTo>
                    <a:pt x="1975491" y="2807262"/>
                    <a:pt x="1987561" y="2817008"/>
                    <a:pt x="1987293" y="2840791"/>
                  </a:cubicBezTo>
                  <a:cubicBezTo>
                    <a:pt x="1987115" y="2857154"/>
                    <a:pt x="1987561" y="2873516"/>
                    <a:pt x="1983001" y="2889431"/>
                  </a:cubicBezTo>
                  <a:cubicBezTo>
                    <a:pt x="1976832" y="2905704"/>
                    <a:pt x="1973881" y="2923139"/>
                    <a:pt x="1965745" y="2938786"/>
                  </a:cubicBezTo>
                  <a:cubicBezTo>
                    <a:pt x="1958860" y="2948085"/>
                    <a:pt x="1959844" y="2959351"/>
                    <a:pt x="1957608" y="2969902"/>
                  </a:cubicBezTo>
                  <a:cubicBezTo>
                    <a:pt x="1953048" y="2990466"/>
                    <a:pt x="1943571" y="3008617"/>
                    <a:pt x="1931769" y="3025784"/>
                  </a:cubicBezTo>
                  <a:cubicBezTo>
                    <a:pt x="1890908" y="3085064"/>
                    <a:pt x="1842715" y="3137727"/>
                    <a:pt x="1791303" y="3188155"/>
                  </a:cubicBezTo>
                  <a:cubicBezTo>
                    <a:pt x="1746508" y="3232146"/>
                    <a:pt x="1711190" y="3284452"/>
                    <a:pt x="1683920" y="3341586"/>
                  </a:cubicBezTo>
                  <a:cubicBezTo>
                    <a:pt x="1681595" y="3346503"/>
                    <a:pt x="1678823" y="3352404"/>
                    <a:pt x="1680790" y="3357322"/>
                  </a:cubicBezTo>
                  <a:cubicBezTo>
                    <a:pt x="1699835" y="3405694"/>
                    <a:pt x="1682042" y="3463811"/>
                    <a:pt x="1726569" y="3506639"/>
                  </a:cubicBezTo>
                  <a:cubicBezTo>
                    <a:pt x="1749548" y="3528724"/>
                    <a:pt x="1735957" y="3564936"/>
                    <a:pt x="1736136" y="3594799"/>
                  </a:cubicBezTo>
                  <a:cubicBezTo>
                    <a:pt x="1736136" y="3609820"/>
                    <a:pt x="1731308" y="3624752"/>
                    <a:pt x="1737656" y="3639773"/>
                  </a:cubicBezTo>
                  <a:cubicBezTo>
                    <a:pt x="1742574" y="3651397"/>
                    <a:pt x="1736583" y="3660874"/>
                    <a:pt x="1729072" y="3669369"/>
                  </a:cubicBezTo>
                  <a:cubicBezTo>
                    <a:pt x="1716734" y="3683227"/>
                    <a:pt x="1704037" y="3697354"/>
                    <a:pt x="1686781" y="3704596"/>
                  </a:cubicBezTo>
                  <a:cubicBezTo>
                    <a:pt x="1652626" y="3718902"/>
                    <a:pt x="1628395" y="3745637"/>
                    <a:pt x="1601214" y="3768883"/>
                  </a:cubicBezTo>
                  <a:cubicBezTo>
                    <a:pt x="1577609" y="3789090"/>
                    <a:pt x="1565718" y="3812069"/>
                    <a:pt x="1579934" y="3843363"/>
                  </a:cubicBezTo>
                  <a:cubicBezTo>
                    <a:pt x="1583868" y="3852126"/>
                    <a:pt x="1585388" y="3862140"/>
                    <a:pt x="1586461" y="3871886"/>
                  </a:cubicBezTo>
                  <a:cubicBezTo>
                    <a:pt x="1587266" y="3881900"/>
                    <a:pt x="1587266" y="3891824"/>
                    <a:pt x="1586550" y="3901839"/>
                  </a:cubicBezTo>
                  <a:cubicBezTo>
                    <a:pt x="1584226" y="3950568"/>
                    <a:pt x="1543812" y="3961655"/>
                    <a:pt x="1510104" y="3979358"/>
                  </a:cubicBezTo>
                  <a:cubicBezTo>
                    <a:pt x="1501252" y="3991250"/>
                    <a:pt x="1510283" y="4005198"/>
                    <a:pt x="1505812" y="4017537"/>
                  </a:cubicBezTo>
                  <a:cubicBezTo>
                    <a:pt x="1486678" y="4071721"/>
                    <a:pt x="1451897" y="4114638"/>
                    <a:pt x="1408711" y="4151386"/>
                  </a:cubicBezTo>
                  <a:cubicBezTo>
                    <a:pt x="1402989" y="4156304"/>
                    <a:pt x="1395210" y="4159523"/>
                    <a:pt x="1391276" y="4165781"/>
                  </a:cubicBezTo>
                  <a:cubicBezTo>
                    <a:pt x="1354975" y="4223631"/>
                    <a:pt x="1298467" y="4243301"/>
                    <a:pt x="1234806" y="4250275"/>
                  </a:cubicBezTo>
                  <a:cubicBezTo>
                    <a:pt x="1215314" y="4254746"/>
                    <a:pt x="1194928" y="4250007"/>
                    <a:pt x="1175526" y="4255551"/>
                  </a:cubicBezTo>
                  <a:cubicBezTo>
                    <a:pt x="1168194" y="4257160"/>
                    <a:pt x="1161041" y="4258144"/>
                    <a:pt x="1153977" y="4261720"/>
                  </a:cubicBezTo>
                  <a:cubicBezTo>
                    <a:pt x="1090406" y="4293819"/>
                    <a:pt x="1069305" y="4286219"/>
                    <a:pt x="1037474" y="4220412"/>
                  </a:cubicBezTo>
                  <a:cubicBezTo>
                    <a:pt x="1033540" y="4206911"/>
                    <a:pt x="1045074" y="4196807"/>
                    <a:pt x="1045342" y="4184290"/>
                  </a:cubicBezTo>
                  <a:cubicBezTo>
                    <a:pt x="1019771" y="4148346"/>
                    <a:pt x="1004928" y="4105786"/>
                    <a:pt x="974976" y="4072704"/>
                  </a:cubicBezTo>
                  <a:cubicBezTo>
                    <a:pt x="970594" y="4067876"/>
                    <a:pt x="965587" y="4062422"/>
                    <a:pt x="965229" y="4056074"/>
                  </a:cubicBezTo>
                  <a:cubicBezTo>
                    <a:pt x="962547" y="4012262"/>
                    <a:pt x="940820" y="3973010"/>
                    <a:pt x="935455" y="3929914"/>
                  </a:cubicBezTo>
                  <a:cubicBezTo>
                    <a:pt x="934561" y="3915965"/>
                    <a:pt x="938138" y="3901570"/>
                    <a:pt x="930270" y="3888516"/>
                  </a:cubicBezTo>
                  <a:cubicBezTo>
                    <a:pt x="901301" y="3860351"/>
                    <a:pt x="892627" y="3818596"/>
                    <a:pt x="864374" y="3789895"/>
                  </a:cubicBezTo>
                  <a:cubicBezTo>
                    <a:pt x="860618" y="3786051"/>
                    <a:pt x="857578" y="3778898"/>
                    <a:pt x="859724" y="3775053"/>
                  </a:cubicBezTo>
                  <a:cubicBezTo>
                    <a:pt x="870543" y="3756276"/>
                    <a:pt x="856058" y="3737947"/>
                    <a:pt x="859992" y="3719528"/>
                  </a:cubicBezTo>
                  <a:cubicBezTo>
                    <a:pt x="864462" y="3705222"/>
                    <a:pt x="863032" y="3690380"/>
                    <a:pt x="863569" y="3675627"/>
                  </a:cubicBezTo>
                  <a:cubicBezTo>
                    <a:pt x="866609" y="3644512"/>
                    <a:pt x="877249" y="3617241"/>
                    <a:pt x="903357" y="3597929"/>
                  </a:cubicBezTo>
                  <a:cubicBezTo>
                    <a:pt x="919004" y="3588451"/>
                    <a:pt x="916679" y="3573609"/>
                    <a:pt x="914623" y="3558945"/>
                  </a:cubicBezTo>
                  <a:cubicBezTo>
                    <a:pt x="909794" y="3538023"/>
                    <a:pt x="892359" y="3521571"/>
                    <a:pt x="893432" y="3498592"/>
                  </a:cubicBezTo>
                  <a:cubicBezTo>
                    <a:pt x="895846" y="3482588"/>
                    <a:pt x="900227" y="3466404"/>
                    <a:pt x="890839" y="3451025"/>
                  </a:cubicBezTo>
                  <a:cubicBezTo>
                    <a:pt x="883418" y="3440207"/>
                    <a:pt x="875997" y="3429477"/>
                    <a:pt x="870185" y="3417764"/>
                  </a:cubicBezTo>
                  <a:cubicBezTo>
                    <a:pt x="854001" y="3385397"/>
                    <a:pt x="834778" y="3355891"/>
                    <a:pt x="805183" y="3333091"/>
                  </a:cubicBezTo>
                  <a:cubicBezTo>
                    <a:pt x="789447" y="3321021"/>
                    <a:pt x="771296" y="3308146"/>
                    <a:pt x="768793" y="3284899"/>
                  </a:cubicBezTo>
                  <a:cubicBezTo>
                    <a:pt x="773263" y="3270772"/>
                    <a:pt x="759851" y="3256734"/>
                    <a:pt x="768614" y="3242518"/>
                  </a:cubicBezTo>
                  <a:cubicBezTo>
                    <a:pt x="780595" y="3211671"/>
                    <a:pt x="780505" y="3178052"/>
                    <a:pt x="791235" y="3147026"/>
                  </a:cubicBezTo>
                  <a:cubicBezTo>
                    <a:pt x="791235" y="3137101"/>
                    <a:pt x="793828" y="3126551"/>
                    <a:pt x="784350" y="3119040"/>
                  </a:cubicBezTo>
                  <a:cubicBezTo>
                    <a:pt x="763160" y="3102678"/>
                    <a:pt x="741880" y="3091412"/>
                    <a:pt x="713447" y="3103661"/>
                  </a:cubicBezTo>
                  <a:cubicBezTo>
                    <a:pt x="694402" y="3111798"/>
                    <a:pt x="678666" y="3102410"/>
                    <a:pt x="665880" y="3086226"/>
                  </a:cubicBezTo>
                  <a:cubicBezTo>
                    <a:pt x="657296" y="3075318"/>
                    <a:pt x="646120" y="3066466"/>
                    <a:pt x="638251" y="3054843"/>
                  </a:cubicBezTo>
                  <a:cubicBezTo>
                    <a:pt x="627790" y="3040537"/>
                    <a:pt x="614110" y="3041342"/>
                    <a:pt x="599447" y="3046706"/>
                  </a:cubicBezTo>
                  <a:cubicBezTo>
                    <a:pt x="559838" y="3058061"/>
                    <a:pt x="519603" y="3067807"/>
                    <a:pt x="484374" y="3090697"/>
                  </a:cubicBezTo>
                  <a:cubicBezTo>
                    <a:pt x="467565" y="3101605"/>
                    <a:pt x="449325" y="3101873"/>
                    <a:pt x="431174" y="3095614"/>
                  </a:cubicBezTo>
                  <a:cubicBezTo>
                    <a:pt x="405871" y="3086852"/>
                    <a:pt x="382177" y="3089445"/>
                    <a:pt x="359198" y="3102678"/>
                  </a:cubicBezTo>
                  <a:cubicBezTo>
                    <a:pt x="355443" y="3104824"/>
                    <a:pt x="351240" y="3105986"/>
                    <a:pt x="347217" y="3107685"/>
                  </a:cubicBezTo>
                  <a:cubicBezTo>
                    <a:pt x="277297" y="3136654"/>
                    <a:pt x="261739" y="3132810"/>
                    <a:pt x="213725" y="3074692"/>
                  </a:cubicBezTo>
                  <a:cubicBezTo>
                    <a:pt x="205768" y="3061817"/>
                    <a:pt x="198078" y="3048673"/>
                    <a:pt x="181627" y="3044829"/>
                  </a:cubicBezTo>
                  <a:cubicBezTo>
                    <a:pt x="149438" y="3035440"/>
                    <a:pt x="129679" y="3016127"/>
                    <a:pt x="116446" y="2983492"/>
                  </a:cubicBezTo>
                  <a:cubicBezTo>
                    <a:pt x="100173" y="2943525"/>
                    <a:pt x="66375" y="2913930"/>
                    <a:pt x="37138" y="2882547"/>
                  </a:cubicBezTo>
                  <a:cubicBezTo>
                    <a:pt x="26140" y="2870744"/>
                    <a:pt x="17646" y="2859210"/>
                    <a:pt x="16305" y="2843563"/>
                  </a:cubicBezTo>
                  <a:cubicBezTo>
                    <a:pt x="15053" y="2829257"/>
                    <a:pt x="12728" y="2815667"/>
                    <a:pt x="5307" y="2803149"/>
                  </a:cubicBezTo>
                  <a:cubicBezTo>
                    <a:pt x="1373" y="2796533"/>
                    <a:pt x="-3098" y="2786698"/>
                    <a:pt x="2982" y="2781869"/>
                  </a:cubicBezTo>
                  <a:cubicBezTo>
                    <a:pt x="30879" y="2760142"/>
                    <a:pt x="23279" y="2725898"/>
                    <a:pt x="30968" y="2698180"/>
                  </a:cubicBezTo>
                  <a:cubicBezTo>
                    <a:pt x="39373" y="2668048"/>
                    <a:pt x="23368" y="2636128"/>
                    <a:pt x="10940" y="2606623"/>
                  </a:cubicBezTo>
                  <a:cubicBezTo>
                    <a:pt x="5665" y="2595536"/>
                    <a:pt x="6380" y="2583733"/>
                    <a:pt x="6916" y="2571931"/>
                  </a:cubicBezTo>
                  <a:cubicBezTo>
                    <a:pt x="9509" y="2549757"/>
                    <a:pt x="23100" y="2532590"/>
                    <a:pt x="33025" y="2513724"/>
                  </a:cubicBezTo>
                  <a:cubicBezTo>
                    <a:pt x="40356" y="2504783"/>
                    <a:pt x="39105" y="2493159"/>
                    <a:pt x="42592" y="2483056"/>
                  </a:cubicBezTo>
                  <a:cubicBezTo>
                    <a:pt x="69683" y="2445235"/>
                    <a:pt x="82201" y="2398741"/>
                    <a:pt x="114032" y="2363781"/>
                  </a:cubicBezTo>
                  <a:cubicBezTo>
                    <a:pt x="121184" y="2352872"/>
                    <a:pt x="131735" y="2346524"/>
                    <a:pt x="143448" y="2341696"/>
                  </a:cubicBezTo>
                  <a:cubicBezTo>
                    <a:pt x="172417" y="2325334"/>
                    <a:pt x="199509" y="2306826"/>
                    <a:pt x="215514" y="2276157"/>
                  </a:cubicBezTo>
                  <a:cubicBezTo>
                    <a:pt x="216765" y="2263819"/>
                    <a:pt x="215603" y="2251838"/>
                    <a:pt x="211848" y="2240035"/>
                  </a:cubicBezTo>
                  <a:cubicBezTo>
                    <a:pt x="209344" y="2226981"/>
                    <a:pt x="208718" y="2214195"/>
                    <a:pt x="215692" y="2202125"/>
                  </a:cubicBezTo>
                  <a:cubicBezTo>
                    <a:pt x="222309" y="2193631"/>
                    <a:pt x="228121" y="2184600"/>
                    <a:pt x="231608" y="2174228"/>
                  </a:cubicBezTo>
                  <a:cubicBezTo>
                    <a:pt x="247523" y="2144096"/>
                    <a:pt x="277923" y="2130506"/>
                    <a:pt x="303226" y="2111104"/>
                  </a:cubicBezTo>
                  <a:cubicBezTo>
                    <a:pt x="304836" y="2106544"/>
                    <a:pt x="311452" y="2104308"/>
                    <a:pt x="309217" y="2098050"/>
                  </a:cubicBezTo>
                  <a:cubicBezTo>
                    <a:pt x="305462" y="2081061"/>
                    <a:pt x="313956" y="2072120"/>
                    <a:pt x="329245" y="2067739"/>
                  </a:cubicBezTo>
                  <a:cubicBezTo>
                    <a:pt x="360986" y="2080435"/>
                    <a:pt x="393800" y="2071226"/>
                    <a:pt x="425809" y="2070332"/>
                  </a:cubicBezTo>
                  <a:cubicBezTo>
                    <a:pt x="448341" y="2069706"/>
                    <a:pt x="464435" y="2048158"/>
                    <a:pt x="484374" y="2037518"/>
                  </a:cubicBezTo>
                  <a:cubicBezTo>
                    <a:pt x="497875" y="2030276"/>
                    <a:pt x="510661" y="2020083"/>
                    <a:pt x="525950" y="2019993"/>
                  </a:cubicBezTo>
                  <a:cubicBezTo>
                    <a:pt x="579150" y="2019725"/>
                    <a:pt x="631635" y="2010337"/>
                    <a:pt x="684656" y="2010247"/>
                  </a:cubicBezTo>
                  <a:cubicBezTo>
                    <a:pt x="697442" y="2010247"/>
                    <a:pt x="707545" y="2004972"/>
                    <a:pt x="718722" y="2001127"/>
                  </a:cubicBezTo>
                  <a:cubicBezTo>
                    <a:pt x="750195" y="1990398"/>
                    <a:pt x="773353" y="2005866"/>
                    <a:pt x="779164" y="2037428"/>
                  </a:cubicBezTo>
                  <a:cubicBezTo>
                    <a:pt x="783903" y="2063090"/>
                    <a:pt x="798745" y="2085800"/>
                    <a:pt x="787032" y="2115217"/>
                  </a:cubicBezTo>
                  <a:cubicBezTo>
                    <a:pt x="781936" y="2128002"/>
                    <a:pt x="803573" y="2138642"/>
                    <a:pt x="817521" y="2144454"/>
                  </a:cubicBezTo>
                  <a:cubicBezTo>
                    <a:pt x="832543" y="2150713"/>
                    <a:pt x="849084" y="2152412"/>
                    <a:pt x="865088" y="2155273"/>
                  </a:cubicBezTo>
                  <a:cubicBezTo>
                    <a:pt x="888157" y="2159386"/>
                    <a:pt x="906129" y="2167522"/>
                    <a:pt x="921150" y="2188892"/>
                  </a:cubicBezTo>
                  <a:cubicBezTo>
                    <a:pt x="940105" y="2215894"/>
                    <a:pt x="976495" y="2215000"/>
                    <a:pt x="1005197" y="2225997"/>
                  </a:cubicBezTo>
                  <a:cubicBezTo>
                    <a:pt x="1017714" y="2230826"/>
                    <a:pt x="1022006" y="2215626"/>
                    <a:pt x="1022095" y="2204002"/>
                  </a:cubicBezTo>
                  <a:cubicBezTo>
                    <a:pt x="1022095" y="2188087"/>
                    <a:pt x="1025672" y="2173781"/>
                    <a:pt x="1038994" y="2163409"/>
                  </a:cubicBezTo>
                  <a:cubicBezTo>
                    <a:pt x="1070467" y="2145170"/>
                    <a:pt x="1101403" y="2138106"/>
                    <a:pt x="1130462" y="2168238"/>
                  </a:cubicBezTo>
                  <a:cubicBezTo>
                    <a:pt x="1135737" y="2173781"/>
                    <a:pt x="1142622" y="2171099"/>
                    <a:pt x="1148970" y="2171188"/>
                  </a:cubicBezTo>
                  <a:cubicBezTo>
                    <a:pt x="1174006" y="2177447"/>
                    <a:pt x="1197521" y="2188445"/>
                    <a:pt x="1223629" y="2191663"/>
                  </a:cubicBezTo>
                  <a:cubicBezTo>
                    <a:pt x="1253671" y="2195419"/>
                    <a:pt x="1282820" y="2203913"/>
                    <a:pt x="1309732" y="2180219"/>
                  </a:cubicBezTo>
                  <a:cubicBezTo>
                    <a:pt x="1319568" y="2171546"/>
                    <a:pt x="1334410" y="2173871"/>
                    <a:pt x="1347374" y="2177089"/>
                  </a:cubicBezTo>
                  <a:cubicBezTo>
                    <a:pt x="1355779" y="2179414"/>
                    <a:pt x="1363200" y="2184242"/>
                    <a:pt x="1371426" y="2187103"/>
                  </a:cubicBezTo>
                  <a:cubicBezTo>
                    <a:pt x="1396909" y="2195955"/>
                    <a:pt x="1413003" y="2189696"/>
                    <a:pt x="1418367" y="2163767"/>
                  </a:cubicBezTo>
                  <a:cubicBezTo>
                    <a:pt x="1428381" y="2115306"/>
                    <a:pt x="1445191" y="2067560"/>
                    <a:pt x="1440273" y="2014539"/>
                  </a:cubicBezTo>
                  <a:cubicBezTo>
                    <a:pt x="1405760" y="2028934"/>
                    <a:pt x="1371695" y="2037876"/>
                    <a:pt x="1336377" y="2019189"/>
                  </a:cubicBezTo>
                  <a:cubicBezTo>
                    <a:pt x="1325826" y="2013645"/>
                    <a:pt x="1315097" y="2019010"/>
                    <a:pt x="1305619" y="2025000"/>
                  </a:cubicBezTo>
                  <a:cubicBezTo>
                    <a:pt x="1293013" y="2033047"/>
                    <a:pt x="1279332" y="2034299"/>
                    <a:pt x="1264848" y="2032511"/>
                  </a:cubicBezTo>
                  <a:cubicBezTo>
                    <a:pt x="1219426" y="2026967"/>
                    <a:pt x="1193408" y="2001843"/>
                    <a:pt x="1181337" y="1950878"/>
                  </a:cubicBezTo>
                  <a:cubicBezTo>
                    <a:pt x="1179817" y="1944530"/>
                    <a:pt x="1179907" y="1937913"/>
                    <a:pt x="1177940" y="1931655"/>
                  </a:cubicBezTo>
                  <a:cubicBezTo>
                    <a:pt x="1162471" y="1882299"/>
                    <a:pt x="1201902" y="1900539"/>
                    <a:pt x="1219605" y="1878723"/>
                  </a:cubicBezTo>
                  <a:cubicBezTo>
                    <a:pt x="1231587" y="1875951"/>
                    <a:pt x="1248128" y="1868709"/>
                    <a:pt x="1253403" y="1855029"/>
                  </a:cubicBezTo>
                  <a:cubicBezTo>
                    <a:pt x="1257873" y="1843316"/>
                    <a:pt x="1260824" y="1835805"/>
                    <a:pt x="1271822" y="1834732"/>
                  </a:cubicBezTo>
                  <a:cubicBezTo>
                    <a:pt x="1300433" y="1831782"/>
                    <a:pt x="1327167" y="1823735"/>
                    <a:pt x="1351398" y="1807730"/>
                  </a:cubicBezTo>
                  <a:cubicBezTo>
                    <a:pt x="1374377" y="1792530"/>
                    <a:pt x="1399055" y="1791457"/>
                    <a:pt x="1422570" y="1805137"/>
                  </a:cubicBezTo>
                  <a:cubicBezTo>
                    <a:pt x="1463252" y="1828831"/>
                    <a:pt x="1507242" y="1820605"/>
                    <a:pt x="1550249" y="1819980"/>
                  </a:cubicBezTo>
                  <a:cubicBezTo>
                    <a:pt x="1566791" y="1819711"/>
                    <a:pt x="1574123" y="1810770"/>
                    <a:pt x="1563661" y="1793782"/>
                  </a:cubicBezTo>
                  <a:cubicBezTo>
                    <a:pt x="1552127" y="1775006"/>
                    <a:pt x="1538536" y="1760253"/>
                    <a:pt x="1518240" y="1749076"/>
                  </a:cubicBezTo>
                  <a:cubicBezTo>
                    <a:pt x="1487572" y="1732177"/>
                    <a:pt x="1449751" y="1724041"/>
                    <a:pt x="1431511" y="1688813"/>
                  </a:cubicBezTo>
                  <a:cubicBezTo>
                    <a:pt x="1426682" y="1677994"/>
                    <a:pt x="1430259" y="1668248"/>
                    <a:pt x="1435445" y="1658771"/>
                  </a:cubicBezTo>
                  <a:cubicBezTo>
                    <a:pt x="1444207" y="1642676"/>
                    <a:pt x="1450824" y="1599938"/>
                    <a:pt x="1442061" y="1605392"/>
                  </a:cubicBezTo>
                  <a:cubicBezTo>
                    <a:pt x="1418993" y="1614959"/>
                    <a:pt x="1400127" y="1632036"/>
                    <a:pt x="1375539" y="1640083"/>
                  </a:cubicBezTo>
                  <a:cubicBezTo>
                    <a:pt x="1384033" y="1652154"/>
                    <a:pt x="1394494" y="1657698"/>
                    <a:pt x="1406207" y="1660291"/>
                  </a:cubicBezTo>
                  <a:cubicBezTo>
                    <a:pt x="1428024" y="1665029"/>
                    <a:pt x="1432941" y="1676295"/>
                    <a:pt x="1421139" y="1695161"/>
                  </a:cubicBezTo>
                  <a:cubicBezTo>
                    <a:pt x="1402989" y="1701867"/>
                    <a:pt x="1384123" y="1705533"/>
                    <a:pt x="1367760" y="1718050"/>
                  </a:cubicBezTo>
                  <a:cubicBezTo>
                    <a:pt x="1352918" y="1729406"/>
                    <a:pt x="1336824" y="1724577"/>
                    <a:pt x="1332085" y="1705801"/>
                  </a:cubicBezTo>
                  <a:cubicBezTo>
                    <a:pt x="1327436" y="1687472"/>
                    <a:pt x="1289972" y="1661989"/>
                    <a:pt x="1317153" y="1650098"/>
                  </a:cubicBezTo>
                  <a:cubicBezTo>
                    <a:pt x="1359624" y="1631500"/>
                    <a:pt x="1301685" y="1638563"/>
                    <a:pt x="1296589" y="1628102"/>
                  </a:cubicBezTo>
                  <a:cubicBezTo>
                    <a:pt x="1295337" y="1625599"/>
                    <a:pt x="1282194" y="1636060"/>
                    <a:pt x="1278617" y="1643481"/>
                  </a:cubicBezTo>
                  <a:cubicBezTo>
                    <a:pt x="1254834" y="1691406"/>
                    <a:pt x="1231408" y="1739688"/>
                    <a:pt x="1219605" y="1792262"/>
                  </a:cubicBezTo>
                  <a:cubicBezTo>
                    <a:pt x="1216565" y="1805853"/>
                    <a:pt x="1224881" y="1817476"/>
                    <a:pt x="1233554" y="1827579"/>
                  </a:cubicBezTo>
                  <a:cubicBezTo>
                    <a:pt x="1245088" y="1840902"/>
                    <a:pt x="1241869" y="1849217"/>
                    <a:pt x="1227116" y="1858337"/>
                  </a:cubicBezTo>
                  <a:cubicBezTo>
                    <a:pt x="1197074" y="1876935"/>
                    <a:pt x="1166138" y="1879438"/>
                    <a:pt x="1133323" y="1868798"/>
                  </a:cubicBezTo>
                  <a:cubicBezTo>
                    <a:pt x="1121700" y="1865043"/>
                    <a:pt x="1118928" y="1872196"/>
                    <a:pt x="1118034" y="1881495"/>
                  </a:cubicBezTo>
                  <a:cubicBezTo>
                    <a:pt x="1110523" y="1899109"/>
                    <a:pt x="1100241" y="1891151"/>
                    <a:pt x="1086740" y="1882657"/>
                  </a:cubicBezTo>
                  <a:cubicBezTo>
                    <a:pt x="1102655" y="1905457"/>
                    <a:pt x="1107752" y="1930224"/>
                    <a:pt x="1124471" y="1949269"/>
                  </a:cubicBezTo>
                  <a:cubicBezTo>
                    <a:pt x="1133592" y="1959551"/>
                    <a:pt x="1132429" y="1968939"/>
                    <a:pt x="1116603" y="1971890"/>
                  </a:cubicBezTo>
                  <a:cubicBezTo>
                    <a:pt x="1111954" y="1971711"/>
                    <a:pt x="1107752" y="1970102"/>
                    <a:pt x="1103817" y="1967777"/>
                  </a:cubicBezTo>
                  <a:cubicBezTo>
                    <a:pt x="1096307" y="1962323"/>
                    <a:pt x="1087366" y="1962233"/>
                    <a:pt x="1078693" y="1961339"/>
                  </a:cubicBezTo>
                  <a:cubicBezTo>
                    <a:pt x="1034702" y="1953113"/>
                    <a:pt x="994199" y="1908586"/>
                    <a:pt x="989281" y="1858516"/>
                  </a:cubicBezTo>
                  <a:cubicBezTo>
                    <a:pt x="986688" y="1832408"/>
                    <a:pt x="972293" y="1822841"/>
                    <a:pt x="952801" y="1807730"/>
                  </a:cubicBezTo>
                  <a:cubicBezTo>
                    <a:pt x="922669" y="1784215"/>
                    <a:pt x="877249" y="1778582"/>
                    <a:pt x="863122" y="1733161"/>
                  </a:cubicBezTo>
                  <a:cubicBezTo>
                    <a:pt x="857399" y="1714832"/>
                    <a:pt x="828609" y="1713580"/>
                    <a:pt x="816360" y="1696145"/>
                  </a:cubicBezTo>
                  <a:cubicBezTo>
                    <a:pt x="814213" y="1693105"/>
                    <a:pt x="808491" y="1697396"/>
                    <a:pt x="807239" y="1702135"/>
                  </a:cubicBezTo>
                  <a:cubicBezTo>
                    <a:pt x="805808" y="1707589"/>
                    <a:pt x="806256" y="1713669"/>
                    <a:pt x="808938" y="1718050"/>
                  </a:cubicBezTo>
                  <a:cubicBezTo>
                    <a:pt x="833079" y="1757034"/>
                    <a:pt x="852035" y="1799951"/>
                    <a:pt x="895220" y="1823824"/>
                  </a:cubicBezTo>
                  <a:cubicBezTo>
                    <a:pt x="918020" y="1836431"/>
                    <a:pt x="938495" y="1852883"/>
                    <a:pt x="957451" y="1870497"/>
                  </a:cubicBezTo>
                  <a:cubicBezTo>
                    <a:pt x="968448" y="1880779"/>
                    <a:pt x="975959" y="1896605"/>
                    <a:pt x="949672" y="1898572"/>
                  </a:cubicBezTo>
                  <a:cubicBezTo>
                    <a:pt x="933846" y="1899824"/>
                    <a:pt x="940105" y="1908855"/>
                    <a:pt x="941178" y="1916812"/>
                  </a:cubicBezTo>
                  <a:cubicBezTo>
                    <a:pt x="943860" y="1936036"/>
                    <a:pt x="940731" y="1953918"/>
                    <a:pt x="926693" y="1968224"/>
                  </a:cubicBezTo>
                  <a:cubicBezTo>
                    <a:pt x="919630" y="1975377"/>
                    <a:pt x="909973" y="1980384"/>
                    <a:pt x="900049" y="1975109"/>
                  </a:cubicBezTo>
                  <a:cubicBezTo>
                    <a:pt x="890839" y="1970102"/>
                    <a:pt x="893164" y="1960624"/>
                    <a:pt x="894326" y="1951683"/>
                  </a:cubicBezTo>
                  <a:cubicBezTo>
                    <a:pt x="898618" y="1917528"/>
                    <a:pt x="879037" y="1885876"/>
                    <a:pt x="847296" y="1871570"/>
                  </a:cubicBezTo>
                  <a:cubicBezTo>
                    <a:pt x="802053" y="1851184"/>
                    <a:pt x="763249" y="1823735"/>
                    <a:pt x="739823" y="1777330"/>
                  </a:cubicBezTo>
                  <a:cubicBezTo>
                    <a:pt x="724355" y="1746751"/>
                    <a:pt x="708708" y="1745768"/>
                    <a:pt x="685639" y="1769909"/>
                  </a:cubicBezTo>
                  <a:cubicBezTo>
                    <a:pt x="662572" y="1794050"/>
                    <a:pt x="637625" y="1804958"/>
                    <a:pt x="603828" y="1789490"/>
                  </a:cubicBezTo>
                  <a:cubicBezTo>
                    <a:pt x="581565" y="1779297"/>
                    <a:pt x="568868" y="1788060"/>
                    <a:pt x="571103" y="1812201"/>
                  </a:cubicBezTo>
                  <a:cubicBezTo>
                    <a:pt x="573875" y="1842869"/>
                    <a:pt x="559301" y="1859142"/>
                    <a:pt x="533998" y="1870050"/>
                  </a:cubicBezTo>
                  <a:cubicBezTo>
                    <a:pt x="499932" y="1884624"/>
                    <a:pt x="484463" y="1907961"/>
                    <a:pt x="488934" y="1947123"/>
                  </a:cubicBezTo>
                  <a:cubicBezTo>
                    <a:pt x="493226" y="1984139"/>
                    <a:pt x="449057" y="2035730"/>
                    <a:pt x="411951" y="2040200"/>
                  </a:cubicBezTo>
                  <a:cubicBezTo>
                    <a:pt x="382355" y="2043777"/>
                    <a:pt x="359109" y="2067113"/>
                    <a:pt x="328172" y="2064967"/>
                  </a:cubicBezTo>
                  <a:cubicBezTo>
                    <a:pt x="322629" y="2064967"/>
                    <a:pt x="316728" y="2064163"/>
                    <a:pt x="313241" y="2060050"/>
                  </a:cubicBezTo>
                  <a:cubicBezTo>
                    <a:pt x="295537" y="2039306"/>
                    <a:pt x="272201" y="2034657"/>
                    <a:pt x="246629" y="2035372"/>
                  </a:cubicBezTo>
                  <a:cubicBezTo>
                    <a:pt x="234648" y="2028040"/>
                    <a:pt x="236168" y="2015344"/>
                    <a:pt x="234201" y="2004078"/>
                  </a:cubicBezTo>
                  <a:cubicBezTo>
                    <a:pt x="219090" y="1978149"/>
                    <a:pt x="218464" y="1951593"/>
                    <a:pt x="227137" y="1923071"/>
                  </a:cubicBezTo>
                  <a:cubicBezTo>
                    <a:pt x="236704" y="1891419"/>
                    <a:pt x="229909" y="1858874"/>
                    <a:pt x="226690" y="1827043"/>
                  </a:cubicBezTo>
                  <a:cubicBezTo>
                    <a:pt x="222935" y="1790027"/>
                    <a:pt x="253156" y="1760521"/>
                    <a:pt x="290351" y="1767137"/>
                  </a:cubicBezTo>
                  <a:cubicBezTo>
                    <a:pt x="325579" y="1773396"/>
                    <a:pt x="361165" y="1775453"/>
                    <a:pt x="396930" y="1775900"/>
                  </a:cubicBezTo>
                  <a:cubicBezTo>
                    <a:pt x="418657" y="1776168"/>
                    <a:pt x="430638" y="1767316"/>
                    <a:pt x="437344" y="1746394"/>
                  </a:cubicBezTo>
                  <a:cubicBezTo>
                    <a:pt x="460144" y="1675669"/>
                    <a:pt x="443871" y="1638921"/>
                    <a:pt x="374040" y="1607180"/>
                  </a:cubicBezTo>
                  <a:cubicBezTo>
                    <a:pt x="368050" y="1604408"/>
                    <a:pt x="362327" y="1601458"/>
                    <a:pt x="358483" y="1595825"/>
                  </a:cubicBezTo>
                  <a:cubicBezTo>
                    <a:pt x="356158" y="1591444"/>
                    <a:pt x="355264" y="1586705"/>
                    <a:pt x="355711" y="1581787"/>
                  </a:cubicBezTo>
                  <a:cubicBezTo>
                    <a:pt x="358483" y="1562385"/>
                    <a:pt x="370375" y="1554070"/>
                    <a:pt x="389330" y="1553712"/>
                  </a:cubicBezTo>
                  <a:cubicBezTo>
                    <a:pt x="396930" y="1553622"/>
                    <a:pt x="410431" y="1554964"/>
                    <a:pt x="411057" y="1551477"/>
                  </a:cubicBezTo>
                  <a:cubicBezTo>
                    <a:pt x="419193" y="1507486"/>
                    <a:pt x="465240" y="1531091"/>
                    <a:pt x="485268" y="1508559"/>
                  </a:cubicBezTo>
                  <a:cubicBezTo>
                    <a:pt x="507353" y="1483524"/>
                    <a:pt x="529706" y="1458757"/>
                    <a:pt x="554205" y="1435957"/>
                  </a:cubicBezTo>
                  <a:cubicBezTo>
                    <a:pt x="568868" y="1422366"/>
                    <a:pt x="573428" y="1402338"/>
                    <a:pt x="580760" y="1384277"/>
                  </a:cubicBezTo>
                  <a:cubicBezTo>
                    <a:pt x="604544" y="1359868"/>
                    <a:pt x="640397" y="1362371"/>
                    <a:pt x="667847" y="1345562"/>
                  </a:cubicBezTo>
                  <a:cubicBezTo>
                    <a:pt x="677056" y="1339929"/>
                    <a:pt x="690199" y="1340197"/>
                    <a:pt x="680722" y="1324461"/>
                  </a:cubicBezTo>
                  <a:cubicBezTo>
                    <a:pt x="674374" y="1311943"/>
                    <a:pt x="668472" y="1299336"/>
                    <a:pt x="674284" y="1284851"/>
                  </a:cubicBezTo>
                  <a:cubicBezTo>
                    <a:pt x="676967" y="1278324"/>
                    <a:pt x="674195" y="1272066"/>
                    <a:pt x="673301" y="1265628"/>
                  </a:cubicBezTo>
                  <a:cubicBezTo>
                    <a:pt x="669545" y="1235943"/>
                    <a:pt x="696279" y="1205722"/>
                    <a:pt x="726054" y="1206795"/>
                  </a:cubicBezTo>
                  <a:cubicBezTo>
                    <a:pt x="740270" y="1207332"/>
                    <a:pt x="750642" y="1215557"/>
                    <a:pt x="756275" y="1228522"/>
                  </a:cubicBezTo>
                  <a:cubicBezTo>
                    <a:pt x="761461" y="1240414"/>
                    <a:pt x="755917" y="1249713"/>
                    <a:pt x="746708" y="1257044"/>
                  </a:cubicBezTo>
                  <a:cubicBezTo>
                    <a:pt x="734905" y="1266343"/>
                    <a:pt x="724534" y="1276357"/>
                    <a:pt x="734190" y="1292630"/>
                  </a:cubicBezTo>
                  <a:cubicBezTo>
                    <a:pt x="742773" y="1307204"/>
                    <a:pt x="753503" y="1319454"/>
                    <a:pt x="773353" y="1315162"/>
                  </a:cubicBezTo>
                  <a:cubicBezTo>
                    <a:pt x="782115" y="1313284"/>
                    <a:pt x="791413" y="1312748"/>
                    <a:pt x="799103" y="1316861"/>
                  </a:cubicBezTo>
                  <a:cubicBezTo>
                    <a:pt x="829413" y="1333134"/>
                    <a:pt x="854538" y="1324371"/>
                    <a:pt x="880288" y="1305148"/>
                  </a:cubicBezTo>
                  <a:cubicBezTo>
                    <a:pt x="902552" y="1288517"/>
                    <a:pt x="927588" y="1275731"/>
                    <a:pt x="954500" y="1298889"/>
                  </a:cubicBezTo>
                  <a:cubicBezTo>
                    <a:pt x="960759" y="1304254"/>
                    <a:pt x="967733" y="1302734"/>
                    <a:pt x="970683" y="1295581"/>
                  </a:cubicBezTo>
                  <a:cubicBezTo>
                    <a:pt x="978284" y="1276894"/>
                    <a:pt x="993573" y="1260084"/>
                    <a:pt x="986330" y="1237284"/>
                  </a:cubicBezTo>
                  <a:cubicBezTo>
                    <a:pt x="980966" y="1220296"/>
                    <a:pt x="986063" y="1205543"/>
                    <a:pt x="994825" y="1190701"/>
                  </a:cubicBezTo>
                  <a:cubicBezTo>
                    <a:pt x="1016552" y="1153953"/>
                    <a:pt x="1026834" y="1152165"/>
                    <a:pt x="1061436" y="1182922"/>
                  </a:cubicBezTo>
                  <a:cubicBezTo>
                    <a:pt x="1066801" y="1167365"/>
                    <a:pt x="1069931" y="1155205"/>
                    <a:pt x="1057055" y="1141793"/>
                  </a:cubicBezTo>
                  <a:cubicBezTo>
                    <a:pt x="1037564" y="1121675"/>
                    <a:pt x="1039709" y="1101826"/>
                    <a:pt x="1061257" y="1084301"/>
                  </a:cubicBezTo>
                  <a:cubicBezTo>
                    <a:pt x="1075564" y="1072678"/>
                    <a:pt x="1092641" y="1066419"/>
                    <a:pt x="1110076" y="1070532"/>
                  </a:cubicBezTo>
                  <a:cubicBezTo>
                    <a:pt x="1139403" y="1077327"/>
                    <a:pt x="1163455" y="1068118"/>
                    <a:pt x="1188401" y="1049699"/>
                  </a:cubicBezTo>
                  <a:cubicBezTo>
                    <a:pt x="1160683" y="1018673"/>
                    <a:pt x="1130820" y="1042546"/>
                    <a:pt x="1102745" y="1046212"/>
                  </a:cubicBezTo>
                  <a:cubicBezTo>
                    <a:pt x="1093446" y="1047374"/>
                    <a:pt x="1085578" y="1055332"/>
                    <a:pt x="1076457" y="1058998"/>
                  </a:cubicBezTo>
                  <a:cubicBezTo>
                    <a:pt x="1036133" y="1075271"/>
                    <a:pt x="994914" y="1049162"/>
                    <a:pt x="993394" y="1006066"/>
                  </a:cubicBezTo>
                  <a:cubicBezTo>
                    <a:pt x="993036" y="996231"/>
                    <a:pt x="991785" y="986574"/>
                    <a:pt x="989997" y="976918"/>
                  </a:cubicBezTo>
                  <a:cubicBezTo>
                    <a:pt x="982218" y="934537"/>
                    <a:pt x="987046" y="896984"/>
                    <a:pt x="1026387" y="869982"/>
                  </a:cubicBezTo>
                  <a:cubicBezTo>
                    <a:pt x="1041498" y="859520"/>
                    <a:pt x="1049724" y="841459"/>
                    <a:pt x="1063582" y="828852"/>
                  </a:cubicBezTo>
                  <a:cubicBezTo>
                    <a:pt x="1074759" y="818659"/>
                    <a:pt x="1069931" y="806499"/>
                    <a:pt x="1064566" y="795770"/>
                  </a:cubicBezTo>
                  <a:cubicBezTo>
                    <a:pt x="1058128" y="782895"/>
                    <a:pt x="1046952" y="785845"/>
                    <a:pt x="1036133" y="789422"/>
                  </a:cubicBezTo>
                  <a:cubicBezTo>
                    <a:pt x="1014227" y="796664"/>
                    <a:pt x="1002156" y="812043"/>
                    <a:pt x="998848" y="834575"/>
                  </a:cubicBezTo>
                  <a:cubicBezTo>
                    <a:pt x="993394" y="871233"/>
                    <a:pt x="976853" y="897610"/>
                    <a:pt x="941625" y="915582"/>
                  </a:cubicBezTo>
                  <a:cubicBezTo>
                    <a:pt x="896830" y="938471"/>
                    <a:pt x="891644" y="992028"/>
                    <a:pt x="926693" y="1027257"/>
                  </a:cubicBezTo>
                  <a:cubicBezTo>
                    <a:pt x="932863" y="1033515"/>
                    <a:pt x="938853" y="1039774"/>
                    <a:pt x="943056" y="1047553"/>
                  </a:cubicBezTo>
                  <a:cubicBezTo>
                    <a:pt x="958524" y="1076433"/>
                    <a:pt x="914801" y="1092974"/>
                    <a:pt x="916858" y="1093958"/>
                  </a:cubicBezTo>
                  <a:cubicBezTo>
                    <a:pt x="936081" y="1102899"/>
                    <a:pt x="930180" y="1115059"/>
                    <a:pt x="918378" y="1123553"/>
                  </a:cubicBezTo>
                  <a:cubicBezTo>
                    <a:pt x="899154" y="1137412"/>
                    <a:pt x="897992" y="1155294"/>
                    <a:pt x="901389" y="1175769"/>
                  </a:cubicBezTo>
                  <a:cubicBezTo>
                    <a:pt x="906844" y="1208852"/>
                    <a:pt x="893074" y="1233619"/>
                    <a:pt x="864731" y="1249087"/>
                  </a:cubicBezTo>
                  <a:cubicBezTo>
                    <a:pt x="853376" y="1255256"/>
                    <a:pt x="846223" y="1262588"/>
                    <a:pt x="840500" y="1273675"/>
                  </a:cubicBezTo>
                  <a:cubicBezTo>
                    <a:pt x="833616" y="1286908"/>
                    <a:pt x="820115" y="1289769"/>
                    <a:pt x="806613" y="1288428"/>
                  </a:cubicBezTo>
                  <a:cubicBezTo>
                    <a:pt x="792039" y="1286997"/>
                    <a:pt x="791145" y="1273764"/>
                    <a:pt x="790519" y="1263482"/>
                  </a:cubicBezTo>
                  <a:cubicBezTo>
                    <a:pt x="787301" y="1208494"/>
                    <a:pt x="749211" y="1166292"/>
                    <a:pt x="737856" y="1113539"/>
                  </a:cubicBezTo>
                  <a:cubicBezTo>
                    <a:pt x="680990" y="1175412"/>
                    <a:pt x="662661" y="1181134"/>
                    <a:pt x="614915" y="1152880"/>
                  </a:cubicBezTo>
                  <a:cubicBezTo>
                    <a:pt x="613037" y="1150376"/>
                    <a:pt x="611607" y="1147605"/>
                    <a:pt x="610623" y="1144654"/>
                  </a:cubicBezTo>
                  <a:cubicBezTo>
                    <a:pt x="601682" y="1130527"/>
                    <a:pt x="621710" y="1112645"/>
                    <a:pt x="604722" y="1099501"/>
                  </a:cubicBezTo>
                  <a:cubicBezTo>
                    <a:pt x="604096" y="1070532"/>
                    <a:pt x="576736" y="1044334"/>
                    <a:pt x="595602" y="1013308"/>
                  </a:cubicBezTo>
                  <a:cubicBezTo>
                    <a:pt x="578167" y="1006692"/>
                    <a:pt x="583710" y="995605"/>
                    <a:pt x="590059" y="984429"/>
                  </a:cubicBezTo>
                  <a:cubicBezTo>
                    <a:pt x="592294" y="982640"/>
                    <a:pt x="594797" y="981299"/>
                    <a:pt x="597390" y="980226"/>
                  </a:cubicBezTo>
                  <a:cubicBezTo>
                    <a:pt x="605080" y="978796"/>
                    <a:pt x="601772" y="972984"/>
                    <a:pt x="601861" y="968424"/>
                  </a:cubicBezTo>
                  <a:cubicBezTo>
                    <a:pt x="603292" y="965563"/>
                    <a:pt x="605616" y="961986"/>
                    <a:pt x="608209" y="962165"/>
                  </a:cubicBezTo>
                  <a:cubicBezTo>
                    <a:pt x="629310" y="963596"/>
                    <a:pt x="618670" y="948485"/>
                    <a:pt x="620191" y="939723"/>
                  </a:cubicBezTo>
                  <a:cubicBezTo>
                    <a:pt x="638430" y="921572"/>
                    <a:pt x="669992" y="916029"/>
                    <a:pt x="673301" y="883393"/>
                  </a:cubicBezTo>
                  <a:cubicBezTo>
                    <a:pt x="673658" y="879728"/>
                    <a:pt x="672317" y="880800"/>
                    <a:pt x="674910" y="881248"/>
                  </a:cubicBezTo>
                  <a:cubicBezTo>
                    <a:pt x="703433" y="886344"/>
                    <a:pt x="710586" y="851384"/>
                    <a:pt x="735174" y="849775"/>
                  </a:cubicBezTo>
                  <a:cubicBezTo>
                    <a:pt x="745367" y="852278"/>
                    <a:pt x="754129" y="853888"/>
                    <a:pt x="749658" y="852457"/>
                  </a:cubicBezTo>
                  <a:cubicBezTo>
                    <a:pt x="730793" y="841191"/>
                    <a:pt x="730882" y="825723"/>
                    <a:pt x="745188" y="812848"/>
                  </a:cubicBezTo>
                  <a:cubicBezTo>
                    <a:pt x="759851" y="799704"/>
                    <a:pt x="768345" y="782001"/>
                    <a:pt x="782651" y="769036"/>
                  </a:cubicBezTo>
                  <a:cubicBezTo>
                    <a:pt x="786227" y="766443"/>
                    <a:pt x="790161" y="765012"/>
                    <a:pt x="794364" y="764476"/>
                  </a:cubicBezTo>
                  <a:cubicBezTo>
                    <a:pt x="807150" y="764476"/>
                    <a:pt x="794990" y="757770"/>
                    <a:pt x="796778" y="754820"/>
                  </a:cubicBezTo>
                  <a:cubicBezTo>
                    <a:pt x="796242" y="746147"/>
                    <a:pt x="798298" y="738100"/>
                    <a:pt x="800980" y="730053"/>
                  </a:cubicBezTo>
                  <a:cubicBezTo>
                    <a:pt x="805004" y="720575"/>
                    <a:pt x="814750" y="716194"/>
                    <a:pt x="820383" y="708057"/>
                  </a:cubicBezTo>
                  <a:cubicBezTo>
                    <a:pt x="825032" y="703229"/>
                    <a:pt x="830218" y="698580"/>
                    <a:pt x="823959" y="691337"/>
                  </a:cubicBezTo>
                  <a:cubicBezTo>
                    <a:pt x="816448" y="674260"/>
                    <a:pt x="826821" y="666392"/>
                    <a:pt x="839964" y="659954"/>
                  </a:cubicBezTo>
                  <a:cubicBezTo>
                    <a:pt x="846759" y="657182"/>
                    <a:pt x="852661" y="652622"/>
                    <a:pt x="858830" y="648867"/>
                  </a:cubicBezTo>
                  <a:cubicBezTo>
                    <a:pt x="872152" y="608721"/>
                    <a:pt x="905503" y="589498"/>
                    <a:pt x="940015" y="571526"/>
                  </a:cubicBezTo>
                  <a:cubicBezTo>
                    <a:pt x="949046" y="574208"/>
                    <a:pt x="958166" y="583328"/>
                    <a:pt x="967018" y="571168"/>
                  </a:cubicBezTo>
                  <a:cubicBezTo>
                    <a:pt x="973634" y="568128"/>
                    <a:pt x="974707" y="562138"/>
                    <a:pt x="974976" y="555789"/>
                  </a:cubicBezTo>
                  <a:cubicBezTo>
                    <a:pt x="987135" y="542378"/>
                    <a:pt x="1002782" y="544524"/>
                    <a:pt x="1016284" y="549978"/>
                  </a:cubicBezTo>
                  <a:cubicBezTo>
                    <a:pt x="1028533" y="554985"/>
                    <a:pt x="1030947" y="548637"/>
                    <a:pt x="1034881" y="540947"/>
                  </a:cubicBezTo>
                  <a:cubicBezTo>
                    <a:pt x="1037295" y="539338"/>
                    <a:pt x="1039977" y="538533"/>
                    <a:pt x="1042749" y="538444"/>
                  </a:cubicBezTo>
                  <a:cubicBezTo>
                    <a:pt x="1059380" y="515286"/>
                    <a:pt x="1086651" y="528877"/>
                    <a:pt x="1107394" y="519667"/>
                  </a:cubicBezTo>
                  <a:cubicBezTo>
                    <a:pt x="1121968" y="515375"/>
                    <a:pt x="1136006" y="515822"/>
                    <a:pt x="1149060" y="524495"/>
                  </a:cubicBezTo>
                  <a:cubicBezTo>
                    <a:pt x="1163008" y="537460"/>
                    <a:pt x="1183483" y="527982"/>
                    <a:pt x="1198058" y="538801"/>
                  </a:cubicBezTo>
                  <a:cubicBezTo>
                    <a:pt x="1204852" y="553197"/>
                    <a:pt x="1190904" y="558561"/>
                    <a:pt x="1184020" y="567234"/>
                  </a:cubicBezTo>
                  <a:cubicBezTo>
                    <a:pt x="1197163" y="571973"/>
                    <a:pt x="1208876" y="569916"/>
                    <a:pt x="1220678" y="567949"/>
                  </a:cubicBezTo>
                  <a:cubicBezTo>
                    <a:pt x="1229352" y="566519"/>
                    <a:pt x="1241779" y="563568"/>
                    <a:pt x="1245714" y="570095"/>
                  </a:cubicBezTo>
                  <a:cubicBezTo>
                    <a:pt x="1259304" y="592448"/>
                    <a:pt x="1284250" y="589945"/>
                    <a:pt x="1303295" y="599959"/>
                  </a:cubicBezTo>
                  <a:cubicBezTo>
                    <a:pt x="1313845" y="603893"/>
                    <a:pt x="1324307" y="608542"/>
                    <a:pt x="1336020" y="605860"/>
                  </a:cubicBezTo>
                  <a:cubicBezTo>
                    <a:pt x="1344245" y="601926"/>
                    <a:pt x="1351398" y="606039"/>
                    <a:pt x="1358730" y="608900"/>
                  </a:cubicBezTo>
                  <a:cubicBezTo>
                    <a:pt x="1393064" y="632862"/>
                    <a:pt x="1438843" y="641177"/>
                    <a:pt x="1460033" y="683112"/>
                  </a:cubicBezTo>
                  <a:cubicBezTo>
                    <a:pt x="1465398" y="691963"/>
                    <a:pt x="1468170" y="701530"/>
                    <a:pt x="1467544" y="711902"/>
                  </a:cubicBezTo>
                  <a:cubicBezTo>
                    <a:pt x="1464861" y="728890"/>
                    <a:pt x="1461196" y="745342"/>
                    <a:pt x="1445012" y="755177"/>
                  </a:cubicBezTo>
                  <a:cubicBezTo>
                    <a:pt x="1378311" y="778067"/>
                    <a:pt x="1319210" y="752495"/>
                    <a:pt x="1261182" y="724509"/>
                  </a:cubicBezTo>
                  <a:cubicBezTo>
                    <a:pt x="1247323" y="717893"/>
                    <a:pt x="1246071" y="721648"/>
                    <a:pt x="1263775" y="731662"/>
                  </a:cubicBezTo>
                  <a:cubicBezTo>
                    <a:pt x="1297483" y="750796"/>
                    <a:pt x="1324485" y="773060"/>
                    <a:pt x="1322697" y="817050"/>
                  </a:cubicBezTo>
                  <a:cubicBezTo>
                    <a:pt x="1321982" y="834575"/>
                    <a:pt x="1339506" y="841191"/>
                    <a:pt x="1350951" y="850579"/>
                  </a:cubicBezTo>
                  <a:cubicBezTo>
                    <a:pt x="1359803" y="857822"/>
                    <a:pt x="1372499" y="862561"/>
                    <a:pt x="1380636" y="853351"/>
                  </a:cubicBezTo>
                  <a:cubicBezTo>
                    <a:pt x="1390381" y="842353"/>
                    <a:pt x="1374287" y="837883"/>
                    <a:pt x="1369638" y="830730"/>
                  </a:cubicBezTo>
                  <a:cubicBezTo>
                    <a:pt x="1364363" y="822594"/>
                    <a:pt x="1355243" y="814904"/>
                    <a:pt x="1361234" y="804711"/>
                  </a:cubicBezTo>
                  <a:cubicBezTo>
                    <a:pt x="1368028" y="793088"/>
                    <a:pt x="1379831" y="795949"/>
                    <a:pt x="1390560" y="799257"/>
                  </a:cubicBezTo>
                  <a:cubicBezTo>
                    <a:pt x="1397803" y="801492"/>
                    <a:pt x="1404151" y="806410"/>
                    <a:pt x="1411572" y="808288"/>
                  </a:cubicBezTo>
                  <a:cubicBezTo>
                    <a:pt x="1431600" y="813384"/>
                    <a:pt x="1440631" y="805874"/>
                    <a:pt x="1435087" y="785398"/>
                  </a:cubicBezTo>
                  <a:cubicBezTo>
                    <a:pt x="1430528" y="768768"/>
                    <a:pt x="1437501" y="760900"/>
                    <a:pt x="1449483" y="753568"/>
                  </a:cubicBezTo>
                  <a:cubicBezTo>
                    <a:pt x="1458602" y="747041"/>
                    <a:pt x="1464235" y="736848"/>
                    <a:pt x="1473623" y="730589"/>
                  </a:cubicBezTo>
                  <a:cubicBezTo>
                    <a:pt x="1486857" y="722006"/>
                    <a:pt x="1500983" y="720933"/>
                    <a:pt x="1515647" y="725582"/>
                  </a:cubicBezTo>
                  <a:cubicBezTo>
                    <a:pt x="1518061" y="723794"/>
                    <a:pt x="1525214" y="737027"/>
                    <a:pt x="1523515" y="723436"/>
                  </a:cubicBezTo>
                  <a:cubicBezTo>
                    <a:pt x="1522353" y="714137"/>
                    <a:pt x="1515200" y="706359"/>
                    <a:pt x="1513054" y="696970"/>
                  </a:cubicBezTo>
                  <a:cubicBezTo>
                    <a:pt x="1510283" y="685347"/>
                    <a:pt x="1512607" y="672740"/>
                    <a:pt x="1506169" y="661832"/>
                  </a:cubicBezTo>
                  <a:cubicBezTo>
                    <a:pt x="1501699" y="646989"/>
                    <a:pt x="1478810" y="635455"/>
                    <a:pt x="1488913" y="620166"/>
                  </a:cubicBezTo>
                  <a:cubicBezTo>
                    <a:pt x="1498748" y="605234"/>
                    <a:pt x="1518866" y="625978"/>
                    <a:pt x="1534245" y="618288"/>
                  </a:cubicBezTo>
                  <a:cubicBezTo>
                    <a:pt x="1543901" y="617483"/>
                    <a:pt x="1553468" y="617662"/>
                    <a:pt x="1562767" y="620434"/>
                  </a:cubicBezTo>
                  <a:cubicBezTo>
                    <a:pt x="1572334" y="623742"/>
                    <a:pt x="1580113" y="629465"/>
                    <a:pt x="1585209" y="638316"/>
                  </a:cubicBezTo>
                  <a:cubicBezTo>
                    <a:pt x="1593435" y="652712"/>
                    <a:pt x="1599605" y="666839"/>
                    <a:pt x="1575821" y="672829"/>
                  </a:cubicBezTo>
                  <a:cubicBezTo>
                    <a:pt x="1569741" y="674349"/>
                    <a:pt x="1561784" y="676048"/>
                    <a:pt x="1563840" y="684810"/>
                  </a:cubicBezTo>
                  <a:cubicBezTo>
                    <a:pt x="1565718" y="692679"/>
                    <a:pt x="1573049" y="696523"/>
                    <a:pt x="1580292" y="699384"/>
                  </a:cubicBezTo>
                  <a:cubicBezTo>
                    <a:pt x="1586998" y="702067"/>
                    <a:pt x="1593614" y="701620"/>
                    <a:pt x="1596922" y="694467"/>
                  </a:cubicBezTo>
                  <a:cubicBezTo>
                    <a:pt x="1601124" y="685704"/>
                    <a:pt x="1605059" y="676763"/>
                    <a:pt x="1609619" y="668090"/>
                  </a:cubicBezTo>
                  <a:cubicBezTo>
                    <a:pt x="1619096" y="649940"/>
                    <a:pt x="1632776" y="636796"/>
                    <a:pt x="1652000" y="629733"/>
                  </a:cubicBezTo>
                  <a:cubicBezTo>
                    <a:pt x="1682400" y="618556"/>
                    <a:pt x="1713962" y="609705"/>
                    <a:pt x="1738014" y="585742"/>
                  </a:cubicBezTo>
                  <a:cubicBezTo>
                    <a:pt x="1743379" y="580378"/>
                    <a:pt x="1751783" y="579662"/>
                    <a:pt x="1759562" y="580825"/>
                  </a:cubicBezTo>
                  <a:cubicBezTo>
                    <a:pt x="1762512" y="581540"/>
                    <a:pt x="1765284" y="582792"/>
                    <a:pt x="1767698" y="584669"/>
                  </a:cubicBezTo>
                  <a:cubicBezTo>
                    <a:pt x="1771990" y="600138"/>
                    <a:pt x="1767251" y="614175"/>
                    <a:pt x="1759652" y="634472"/>
                  </a:cubicBezTo>
                  <a:cubicBezTo>
                    <a:pt x="1769666" y="620970"/>
                    <a:pt x="1770202" y="607380"/>
                    <a:pt x="1781557" y="602373"/>
                  </a:cubicBezTo>
                  <a:cubicBezTo>
                    <a:pt x="1790141" y="598439"/>
                    <a:pt x="1799171" y="598439"/>
                    <a:pt x="1808291" y="599065"/>
                  </a:cubicBezTo>
                  <a:cubicBezTo>
                    <a:pt x="1811063" y="599243"/>
                    <a:pt x="1813924" y="599691"/>
                    <a:pt x="1816696" y="600227"/>
                  </a:cubicBezTo>
                  <a:cubicBezTo>
                    <a:pt x="1827783" y="603178"/>
                    <a:pt x="1833058" y="593163"/>
                    <a:pt x="1841016" y="589051"/>
                  </a:cubicBezTo>
                  <a:cubicBezTo>
                    <a:pt x="1843698" y="587799"/>
                    <a:pt x="1846470" y="586994"/>
                    <a:pt x="1849421" y="586458"/>
                  </a:cubicBezTo>
                  <a:cubicBezTo>
                    <a:pt x="1859882" y="585385"/>
                    <a:pt x="1870343" y="583865"/>
                    <a:pt x="1880894" y="583865"/>
                  </a:cubicBezTo>
                  <a:cubicBezTo>
                    <a:pt x="1888225" y="584848"/>
                    <a:pt x="1898597" y="594058"/>
                    <a:pt x="1898954" y="576980"/>
                  </a:cubicBezTo>
                  <a:cubicBezTo>
                    <a:pt x="1899312" y="556058"/>
                    <a:pt x="1915585" y="547564"/>
                    <a:pt x="1930964" y="545596"/>
                  </a:cubicBezTo>
                  <a:cubicBezTo>
                    <a:pt x="1960470" y="541841"/>
                    <a:pt x="1991406" y="536119"/>
                    <a:pt x="2018587" y="556684"/>
                  </a:cubicBezTo>
                  <a:cubicBezTo>
                    <a:pt x="2042371" y="574566"/>
                    <a:pt x="2074469" y="574476"/>
                    <a:pt x="2102992" y="599959"/>
                  </a:cubicBezTo>
                  <a:cubicBezTo>
                    <a:pt x="2099058" y="574566"/>
                    <a:pt x="2089312" y="562138"/>
                    <a:pt x="2075632" y="551945"/>
                  </a:cubicBezTo>
                  <a:cubicBezTo>
                    <a:pt x="2072144" y="549352"/>
                    <a:pt x="2068032" y="547832"/>
                    <a:pt x="2063919" y="546222"/>
                  </a:cubicBezTo>
                  <a:cubicBezTo>
                    <a:pt x="2051669" y="541573"/>
                    <a:pt x="2044338" y="527714"/>
                    <a:pt x="2050418" y="520651"/>
                  </a:cubicBezTo>
                  <a:cubicBezTo>
                    <a:pt x="2072502" y="494990"/>
                    <a:pt x="2015100" y="451625"/>
                    <a:pt x="2070535" y="435441"/>
                  </a:cubicBezTo>
                  <a:cubicBezTo>
                    <a:pt x="2089043" y="432938"/>
                    <a:pt x="2091458" y="419079"/>
                    <a:pt x="2092710" y="404416"/>
                  </a:cubicBezTo>
                  <a:cubicBezTo>
                    <a:pt x="2093871" y="390467"/>
                    <a:pt x="2091547" y="375983"/>
                    <a:pt x="2098790" y="362839"/>
                  </a:cubicBezTo>
                  <a:cubicBezTo>
                    <a:pt x="2114884" y="342900"/>
                    <a:pt x="2135359" y="357475"/>
                    <a:pt x="2153777" y="355686"/>
                  </a:cubicBezTo>
                  <a:cubicBezTo>
                    <a:pt x="2170587" y="357206"/>
                    <a:pt x="2185966" y="361766"/>
                    <a:pt x="2196606" y="376251"/>
                  </a:cubicBezTo>
                  <a:cubicBezTo>
                    <a:pt x="2202328" y="387427"/>
                    <a:pt x="2201970" y="399319"/>
                    <a:pt x="2200897" y="411300"/>
                  </a:cubicBezTo>
                  <a:cubicBezTo>
                    <a:pt x="2199109" y="423818"/>
                    <a:pt x="2191688" y="436961"/>
                    <a:pt x="2204832" y="447959"/>
                  </a:cubicBezTo>
                  <a:cubicBezTo>
                    <a:pt x="2209749" y="454039"/>
                    <a:pt x="2213504" y="461103"/>
                    <a:pt x="2213057" y="468881"/>
                  </a:cubicBezTo>
                  <a:cubicBezTo>
                    <a:pt x="2210732" y="508133"/>
                    <a:pt x="2216544" y="544166"/>
                    <a:pt x="2244798" y="575013"/>
                  </a:cubicBezTo>
                  <a:cubicBezTo>
                    <a:pt x="2257853" y="589229"/>
                    <a:pt x="2244351" y="606665"/>
                    <a:pt x="2241401" y="621865"/>
                  </a:cubicBezTo>
                  <a:cubicBezTo>
                    <a:pt x="2233711" y="661742"/>
                    <a:pt x="2200540" y="694288"/>
                    <a:pt x="2168530" y="697149"/>
                  </a:cubicBezTo>
                  <a:cubicBezTo>
                    <a:pt x="2224681" y="707789"/>
                    <a:pt x="2260445" y="678730"/>
                    <a:pt x="2259372" y="622043"/>
                  </a:cubicBezTo>
                  <a:cubicBezTo>
                    <a:pt x="2258925" y="597813"/>
                    <a:pt x="2265721" y="577338"/>
                    <a:pt x="2289504" y="569916"/>
                  </a:cubicBezTo>
                  <a:cubicBezTo>
                    <a:pt x="2313914" y="562316"/>
                    <a:pt x="2343509" y="599780"/>
                    <a:pt x="2339485" y="591554"/>
                  </a:cubicBezTo>
                  <a:cubicBezTo>
                    <a:pt x="2326342" y="572509"/>
                    <a:pt x="2310606" y="559455"/>
                    <a:pt x="2285123" y="564731"/>
                  </a:cubicBezTo>
                  <a:cubicBezTo>
                    <a:pt x="2239702" y="574119"/>
                    <a:pt x="2216634" y="556058"/>
                    <a:pt x="2229509" y="511888"/>
                  </a:cubicBezTo>
                  <a:cubicBezTo>
                    <a:pt x="2237914" y="482830"/>
                    <a:pt x="2228794" y="467719"/>
                    <a:pt x="2213504" y="449390"/>
                  </a:cubicBezTo>
                  <a:cubicBezTo>
                    <a:pt x="2207782" y="442505"/>
                    <a:pt x="2205725" y="433921"/>
                    <a:pt x="2206083" y="424891"/>
                  </a:cubicBezTo>
                  <a:cubicBezTo>
                    <a:pt x="2206262" y="400213"/>
                    <a:pt x="2237377" y="393686"/>
                    <a:pt x="2238361" y="369545"/>
                  </a:cubicBezTo>
                  <a:cubicBezTo>
                    <a:pt x="2240417" y="361140"/>
                    <a:pt x="2243725" y="353630"/>
                    <a:pt x="2251952" y="349338"/>
                  </a:cubicBezTo>
                  <a:cubicBezTo>
                    <a:pt x="2261250" y="347639"/>
                    <a:pt x="2268761" y="350948"/>
                    <a:pt x="2274930" y="357832"/>
                  </a:cubicBezTo>
                  <a:cubicBezTo>
                    <a:pt x="2280205" y="366952"/>
                    <a:pt x="2280205" y="376609"/>
                    <a:pt x="2277970" y="386533"/>
                  </a:cubicBezTo>
                  <a:cubicBezTo>
                    <a:pt x="2264022" y="407545"/>
                    <a:pt x="2258746" y="420152"/>
                    <a:pt x="2273232" y="397710"/>
                  </a:cubicBezTo>
                  <a:cubicBezTo>
                    <a:pt x="2276271" y="393954"/>
                    <a:pt x="2279312" y="390199"/>
                    <a:pt x="2283693" y="387875"/>
                  </a:cubicBezTo>
                  <a:cubicBezTo>
                    <a:pt x="2288074" y="385997"/>
                    <a:pt x="2292723" y="385639"/>
                    <a:pt x="2297462" y="386176"/>
                  </a:cubicBezTo>
                  <a:cubicBezTo>
                    <a:pt x="2307208" y="386355"/>
                    <a:pt x="2321693" y="394133"/>
                    <a:pt x="2318116" y="373122"/>
                  </a:cubicBezTo>
                  <a:cubicBezTo>
                    <a:pt x="2311499" y="348802"/>
                    <a:pt x="2328040" y="350769"/>
                    <a:pt x="2342078" y="353451"/>
                  </a:cubicBezTo>
                  <a:cubicBezTo>
                    <a:pt x="2360497" y="357028"/>
                    <a:pt x="2375339" y="368740"/>
                    <a:pt x="2389735" y="380185"/>
                  </a:cubicBezTo>
                  <a:cubicBezTo>
                    <a:pt x="2406633" y="393507"/>
                    <a:pt x="2424784" y="401107"/>
                    <a:pt x="2446600" y="397442"/>
                  </a:cubicBezTo>
                  <a:cubicBezTo>
                    <a:pt x="2465019" y="398872"/>
                    <a:pt x="2469848" y="410406"/>
                    <a:pt x="2462158" y="424533"/>
                  </a:cubicBezTo>
                  <a:cubicBezTo>
                    <a:pt x="2443739" y="458331"/>
                    <a:pt x="2451250" y="484797"/>
                    <a:pt x="2479415" y="505004"/>
                  </a:cubicBezTo>
                  <a:cubicBezTo>
                    <a:pt x="2469490" y="478985"/>
                    <a:pt x="2473424" y="448674"/>
                    <a:pt x="2470115" y="419794"/>
                  </a:cubicBezTo>
                  <a:cubicBezTo>
                    <a:pt x="2467791" y="399051"/>
                    <a:pt x="2460101" y="396726"/>
                    <a:pt x="2444723" y="396369"/>
                  </a:cubicBezTo>
                  <a:cubicBezTo>
                    <a:pt x="2416915" y="393239"/>
                    <a:pt x="2397871" y="380275"/>
                    <a:pt x="2387231" y="352825"/>
                  </a:cubicBezTo>
                  <a:cubicBezTo>
                    <a:pt x="2374534" y="320190"/>
                    <a:pt x="2379988" y="304722"/>
                    <a:pt x="2413965" y="291668"/>
                  </a:cubicBezTo>
                  <a:cubicBezTo>
                    <a:pt x="2425499" y="290148"/>
                    <a:pt x="2437391" y="290952"/>
                    <a:pt x="2448568" y="286929"/>
                  </a:cubicBezTo>
                  <a:cubicBezTo>
                    <a:pt x="2473782" y="288091"/>
                    <a:pt x="2493273" y="266811"/>
                    <a:pt x="2518755" y="268689"/>
                  </a:cubicBezTo>
                  <a:cubicBezTo>
                    <a:pt x="2528591" y="271729"/>
                    <a:pt x="2536906" y="276289"/>
                    <a:pt x="2537174" y="288359"/>
                  </a:cubicBezTo>
                  <a:cubicBezTo>
                    <a:pt x="2535833" y="293814"/>
                    <a:pt x="2531899" y="297301"/>
                    <a:pt x="2527607" y="300519"/>
                  </a:cubicBezTo>
                  <a:cubicBezTo>
                    <a:pt x="2532346" y="298374"/>
                    <a:pt x="2535744" y="294618"/>
                    <a:pt x="2538605" y="290505"/>
                  </a:cubicBezTo>
                  <a:cubicBezTo>
                    <a:pt x="2551480" y="276468"/>
                    <a:pt x="2534939" y="268957"/>
                    <a:pt x="2531452" y="258496"/>
                  </a:cubicBezTo>
                  <a:cubicBezTo>
                    <a:pt x="2517682" y="211376"/>
                    <a:pt x="2518129" y="209498"/>
                    <a:pt x="2547546" y="194388"/>
                  </a:cubicBezTo>
                  <a:cubicBezTo>
                    <a:pt x="2558723" y="193673"/>
                    <a:pt x="2566143" y="187414"/>
                    <a:pt x="2571150" y="177757"/>
                  </a:cubicBezTo>
                  <a:cubicBezTo>
                    <a:pt x="2586261" y="162200"/>
                    <a:pt x="2603339" y="156299"/>
                    <a:pt x="2626139" y="156746"/>
                  </a:cubicBezTo>
                  <a:cubicBezTo>
                    <a:pt x="2652336" y="157282"/>
                    <a:pt x="2672811" y="137254"/>
                    <a:pt x="2695522" y="125541"/>
                  </a:cubicBezTo>
                  <a:cubicBezTo>
                    <a:pt x="2699814" y="123395"/>
                    <a:pt x="2704284" y="122143"/>
                    <a:pt x="2708934" y="121339"/>
                  </a:cubicBezTo>
                  <a:cubicBezTo>
                    <a:pt x="2738440" y="111593"/>
                    <a:pt x="2766068" y="124826"/>
                    <a:pt x="2794501" y="128313"/>
                  </a:cubicBezTo>
                  <a:cubicBezTo>
                    <a:pt x="2807823" y="129922"/>
                    <a:pt x="2828656" y="137612"/>
                    <a:pt x="2819446" y="108106"/>
                  </a:cubicBezTo>
                  <a:cubicBezTo>
                    <a:pt x="2815512" y="95499"/>
                    <a:pt x="2826063" y="91028"/>
                    <a:pt x="2836524" y="89687"/>
                  </a:cubicBezTo>
                  <a:cubicBezTo>
                    <a:pt x="2852708" y="87630"/>
                    <a:pt x="2868980" y="87630"/>
                    <a:pt x="2889098" y="90939"/>
                  </a:cubicBezTo>
                  <a:cubicBezTo>
                    <a:pt x="2866477" y="65635"/>
                    <a:pt x="2873451" y="45875"/>
                    <a:pt x="2897235" y="29424"/>
                  </a:cubicBezTo>
                  <a:cubicBezTo>
                    <a:pt x="2899023" y="28172"/>
                    <a:pt x="2900543" y="26562"/>
                    <a:pt x="2902242" y="25221"/>
                  </a:cubicBezTo>
                  <a:cubicBezTo>
                    <a:pt x="2914848" y="14849"/>
                    <a:pt x="2922180" y="-6430"/>
                    <a:pt x="2944355" y="1885"/>
                  </a:cubicBezTo>
                  <a:cubicBezTo>
                    <a:pt x="2964204" y="9306"/>
                    <a:pt x="2961790" y="27188"/>
                    <a:pt x="2960717" y="43461"/>
                  </a:cubicBezTo>
                  <a:cubicBezTo>
                    <a:pt x="2959554" y="61612"/>
                    <a:pt x="2977526" y="52492"/>
                    <a:pt x="2983516" y="60181"/>
                  </a:cubicBezTo>
                  <a:cubicBezTo>
                    <a:pt x="2991206" y="57767"/>
                    <a:pt x="2983159" y="81819"/>
                    <a:pt x="2997465" y="68318"/>
                  </a:cubicBezTo>
                  <a:cubicBezTo>
                    <a:pt x="3009983" y="60986"/>
                    <a:pt x="3023841" y="58393"/>
                    <a:pt x="3037789" y="55979"/>
                  </a:cubicBezTo>
                  <a:cubicBezTo>
                    <a:pt x="3047714" y="55085"/>
                    <a:pt x="3057639" y="55174"/>
                    <a:pt x="3067474" y="56247"/>
                  </a:cubicBezTo>
                  <a:cubicBezTo>
                    <a:pt x="3070782" y="56515"/>
                    <a:pt x="3074001" y="57231"/>
                    <a:pt x="3077131" y="58035"/>
                  </a:cubicBezTo>
                  <a:cubicBezTo>
                    <a:pt x="3092867" y="63400"/>
                    <a:pt x="3108604" y="62595"/>
                    <a:pt x="3124340" y="57678"/>
                  </a:cubicBezTo>
                  <a:cubicBezTo>
                    <a:pt x="3143832" y="53028"/>
                    <a:pt x="3161535" y="57678"/>
                    <a:pt x="3178345" y="67602"/>
                  </a:cubicBezTo>
                  <a:cubicBezTo>
                    <a:pt x="3197210" y="77795"/>
                    <a:pt x="3221620" y="83070"/>
                    <a:pt x="3218580" y="112755"/>
                  </a:cubicBezTo>
                  <a:cubicBezTo>
                    <a:pt x="3213930" y="128402"/>
                    <a:pt x="3198194" y="126435"/>
                    <a:pt x="3187643" y="132336"/>
                  </a:cubicBezTo>
                  <a:cubicBezTo>
                    <a:pt x="3209728" y="155762"/>
                    <a:pt x="3209281" y="172750"/>
                    <a:pt x="3185855" y="189470"/>
                  </a:cubicBezTo>
                  <a:cubicBezTo>
                    <a:pt x="3167615" y="202524"/>
                    <a:pt x="3148749" y="214684"/>
                    <a:pt x="3126486" y="220228"/>
                  </a:cubicBezTo>
                  <a:cubicBezTo>
                    <a:pt x="3117723" y="222553"/>
                    <a:pt x="3110303" y="227381"/>
                    <a:pt x="3102881" y="232298"/>
                  </a:cubicBezTo>
                  <a:cubicBezTo>
                    <a:pt x="3077488" y="243654"/>
                    <a:pt x="3055851" y="262609"/>
                    <a:pt x="3028133" y="269047"/>
                  </a:cubicBezTo>
                  <a:cubicBezTo>
                    <a:pt x="3018656" y="271282"/>
                    <a:pt x="3016241" y="280759"/>
                    <a:pt x="3010519" y="286929"/>
                  </a:cubicBezTo>
                  <a:cubicBezTo>
                    <a:pt x="3008463" y="289969"/>
                    <a:pt x="3003545" y="292562"/>
                    <a:pt x="3004260" y="295512"/>
                  </a:cubicBezTo>
                  <a:cubicBezTo>
                    <a:pt x="3004975" y="298552"/>
                    <a:pt x="3008731" y="295065"/>
                    <a:pt x="3011145" y="294350"/>
                  </a:cubicBezTo>
                  <a:cubicBezTo>
                    <a:pt x="3021159" y="288002"/>
                    <a:pt x="3023931" y="272534"/>
                    <a:pt x="3038862" y="272534"/>
                  </a:cubicBezTo>
                  <a:cubicBezTo>
                    <a:pt x="3050397" y="270924"/>
                    <a:pt x="3062378" y="272712"/>
                    <a:pt x="3073286" y="267169"/>
                  </a:cubicBezTo>
                  <a:cubicBezTo>
                    <a:pt x="3080171" y="264039"/>
                    <a:pt x="3087234" y="261178"/>
                    <a:pt x="3095102" y="262341"/>
                  </a:cubicBezTo>
                  <a:cubicBezTo>
                    <a:pt x="3106815" y="267616"/>
                    <a:pt x="3119065" y="267437"/>
                    <a:pt x="3131314" y="265828"/>
                  </a:cubicBezTo>
                  <a:cubicBezTo>
                    <a:pt x="3133102" y="265649"/>
                    <a:pt x="3134265" y="264487"/>
                    <a:pt x="3134354" y="262698"/>
                  </a:cubicBezTo>
                  <a:cubicBezTo>
                    <a:pt x="3129705" y="264755"/>
                    <a:pt x="3125145" y="265917"/>
                    <a:pt x="3120227" y="266096"/>
                  </a:cubicBezTo>
                  <a:cubicBezTo>
                    <a:pt x="3111107" y="265917"/>
                    <a:pt x="3101898" y="265023"/>
                    <a:pt x="3100289" y="253936"/>
                  </a:cubicBezTo>
                  <a:cubicBezTo>
                    <a:pt x="3098858" y="244280"/>
                    <a:pt x="3104491" y="235249"/>
                    <a:pt x="3112538" y="232924"/>
                  </a:cubicBezTo>
                  <a:cubicBezTo>
                    <a:pt x="3148570" y="222553"/>
                    <a:pt x="3184961" y="219423"/>
                    <a:pt x="3220815" y="234444"/>
                  </a:cubicBezTo>
                  <a:cubicBezTo>
                    <a:pt x="3227610" y="243207"/>
                    <a:pt x="3225554" y="254294"/>
                    <a:pt x="3227342" y="266096"/>
                  </a:cubicBezTo>
                  <a:cubicBezTo>
                    <a:pt x="3235926" y="254830"/>
                    <a:pt x="3246297" y="250360"/>
                    <a:pt x="3257474" y="247409"/>
                  </a:cubicBezTo>
                  <a:cubicBezTo>
                    <a:pt x="3274104" y="243922"/>
                    <a:pt x="3290556" y="245084"/>
                    <a:pt x="3306829" y="249465"/>
                  </a:cubicBezTo>
                  <a:cubicBezTo>
                    <a:pt x="3319615" y="248482"/>
                    <a:pt x="3332311" y="247498"/>
                    <a:pt x="3345097" y="246604"/>
                  </a:cubicBezTo>
                  <a:cubicBezTo>
                    <a:pt x="3350462" y="243832"/>
                    <a:pt x="3358241" y="244548"/>
                    <a:pt x="3359671" y="248571"/>
                  </a:cubicBezTo>
                  <a:cubicBezTo>
                    <a:pt x="3371652" y="283621"/>
                    <a:pt x="3396777" y="269941"/>
                    <a:pt x="3419487" y="265470"/>
                  </a:cubicBezTo>
                  <a:cubicBezTo>
                    <a:pt x="3428339" y="264755"/>
                    <a:pt x="3437102" y="264487"/>
                    <a:pt x="3445774" y="265381"/>
                  </a:cubicBezTo>
                  <a:cubicBezTo>
                    <a:pt x="3454448" y="223894"/>
                    <a:pt x="3480824" y="200378"/>
                    <a:pt x="3520523" y="220317"/>
                  </a:cubicBezTo>
                  <a:cubicBezTo>
                    <a:pt x="3541445" y="230778"/>
                    <a:pt x="3568984" y="219423"/>
                    <a:pt x="3587224" y="239720"/>
                  </a:cubicBezTo>
                  <a:cubicBezTo>
                    <a:pt x="3591605" y="239898"/>
                    <a:pt x="3595986" y="239988"/>
                    <a:pt x="3600278" y="240167"/>
                  </a:cubicBezTo>
                  <a:cubicBezTo>
                    <a:pt x="3621826" y="233908"/>
                    <a:pt x="3637652" y="238378"/>
                    <a:pt x="3642927" y="262788"/>
                  </a:cubicBezTo>
                  <a:cubicBezTo>
                    <a:pt x="3626118" y="286482"/>
                    <a:pt x="3595360" y="290327"/>
                    <a:pt x="3574974" y="310444"/>
                  </a:cubicBezTo>
                  <a:cubicBezTo>
                    <a:pt x="3597953" y="294261"/>
                    <a:pt x="3615388" y="311875"/>
                    <a:pt x="3634433" y="318759"/>
                  </a:cubicBezTo>
                  <a:cubicBezTo>
                    <a:pt x="3652226" y="320369"/>
                    <a:pt x="3667336" y="324035"/>
                    <a:pt x="3674400" y="344599"/>
                  </a:cubicBezTo>
                  <a:cubicBezTo>
                    <a:pt x="3678960" y="357832"/>
                    <a:pt x="3695680" y="361945"/>
                    <a:pt x="3705426" y="372138"/>
                  </a:cubicBezTo>
                  <a:cubicBezTo>
                    <a:pt x="3711506" y="378397"/>
                    <a:pt x="3719553" y="383583"/>
                    <a:pt x="3728583" y="378486"/>
                  </a:cubicBezTo>
                  <a:cubicBezTo>
                    <a:pt x="3736630" y="373926"/>
                    <a:pt x="3733680" y="365253"/>
                    <a:pt x="3733501" y="357922"/>
                  </a:cubicBezTo>
                  <a:cubicBezTo>
                    <a:pt x="3733143" y="342811"/>
                    <a:pt x="3737077" y="328773"/>
                    <a:pt x="3752456" y="323945"/>
                  </a:cubicBezTo>
                  <a:cubicBezTo>
                    <a:pt x="3769265" y="318670"/>
                    <a:pt x="3772216" y="336999"/>
                    <a:pt x="3781426" y="344689"/>
                  </a:cubicBezTo>
                  <a:cubicBezTo>
                    <a:pt x="3797788" y="351216"/>
                    <a:pt x="3814329" y="356580"/>
                    <a:pt x="3832122" y="350769"/>
                  </a:cubicBezTo>
                  <a:cubicBezTo>
                    <a:pt x="3832301" y="346745"/>
                    <a:pt x="3833195" y="343169"/>
                    <a:pt x="3837039" y="341202"/>
                  </a:cubicBezTo>
                  <a:cubicBezTo>
                    <a:pt x="3847590" y="342364"/>
                    <a:pt x="3858051" y="343526"/>
                    <a:pt x="3868602" y="344689"/>
                  </a:cubicBezTo>
                  <a:cubicBezTo>
                    <a:pt x="3876112" y="341917"/>
                    <a:pt x="3882908" y="344689"/>
                    <a:pt x="3889792" y="347192"/>
                  </a:cubicBezTo>
                  <a:cubicBezTo>
                    <a:pt x="3897839" y="350322"/>
                    <a:pt x="3906602" y="351484"/>
                    <a:pt x="3914738" y="354613"/>
                  </a:cubicBezTo>
                  <a:cubicBezTo>
                    <a:pt x="3934766" y="364896"/>
                    <a:pt x="3946032" y="358190"/>
                    <a:pt x="3949787" y="336731"/>
                  </a:cubicBezTo>
                  <a:cubicBezTo>
                    <a:pt x="3950503" y="331009"/>
                    <a:pt x="3948804" y="326628"/>
                    <a:pt x="3944333" y="322425"/>
                  </a:cubicBezTo>
                  <a:cubicBezTo>
                    <a:pt x="3927077" y="306331"/>
                    <a:pt x="3939058" y="299178"/>
                    <a:pt x="3953811" y="293188"/>
                  </a:cubicBezTo>
                  <a:lnTo>
                    <a:pt x="3966776" y="287197"/>
                  </a:lnTo>
                  <a:cubicBezTo>
                    <a:pt x="3982512" y="260910"/>
                    <a:pt x="4008531" y="264308"/>
                    <a:pt x="4033208" y="264397"/>
                  </a:cubicBezTo>
                  <a:cubicBezTo>
                    <a:pt x="4067095" y="264487"/>
                    <a:pt x="4099284" y="272534"/>
                    <a:pt x="4130309" y="2859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7" name="Freeform: Shape 6">
              <a:extLst>
                <a:ext uri="{FF2B5EF4-FFF2-40B4-BE49-F238E27FC236}">
                  <a16:creationId xmlns:a16="http://schemas.microsoft.com/office/drawing/2014/main" id="{595AE41D-99E4-BC52-76B3-4851D08A879E}"/>
                </a:ext>
              </a:extLst>
            </p:cNvPr>
            <p:cNvSpPr/>
            <p:nvPr/>
          </p:nvSpPr>
          <p:spPr>
            <a:xfrm>
              <a:off x="1926769" y="2869636"/>
              <a:ext cx="5318054" cy="6807882"/>
            </a:xfrm>
            <a:custGeom>
              <a:avLst/>
              <a:gdLst>
                <a:gd name="connsiteX0" fmla="*/ 1937036 w 3647937"/>
                <a:gd name="connsiteY0" fmla="*/ 2465173 h 4669890"/>
                <a:gd name="connsiteX1" fmla="*/ 1878918 w 3647937"/>
                <a:gd name="connsiteY1" fmla="*/ 2465531 h 4669890"/>
                <a:gd name="connsiteX2" fmla="*/ 1852184 w 3647937"/>
                <a:gd name="connsiteY2" fmla="*/ 2452477 h 4669890"/>
                <a:gd name="connsiteX3" fmla="*/ 1818297 w 3647937"/>
                <a:gd name="connsiteY3" fmla="*/ 2447291 h 4669890"/>
                <a:gd name="connsiteX4" fmla="*/ 1779314 w 3647937"/>
                <a:gd name="connsiteY4" fmla="*/ 2416533 h 4669890"/>
                <a:gd name="connsiteX5" fmla="*/ 1750792 w 3647937"/>
                <a:gd name="connsiteY5" fmla="*/ 2407771 h 4669890"/>
                <a:gd name="connsiteX6" fmla="*/ 1671126 w 3647937"/>
                <a:gd name="connsiteY6" fmla="*/ 2287602 h 4669890"/>
                <a:gd name="connsiteX7" fmla="*/ 1662453 w 3647937"/>
                <a:gd name="connsiteY7" fmla="*/ 2249870 h 4669890"/>
                <a:gd name="connsiteX8" fmla="*/ 1649131 w 3647937"/>
                <a:gd name="connsiteY8" fmla="*/ 2221616 h 4669890"/>
                <a:gd name="connsiteX9" fmla="*/ 1606392 w 3647937"/>
                <a:gd name="connsiteY9" fmla="*/ 2177089 h 4669890"/>
                <a:gd name="connsiteX10" fmla="*/ 1576976 w 3647937"/>
                <a:gd name="connsiteY10" fmla="*/ 2122727 h 4669890"/>
                <a:gd name="connsiteX11" fmla="*/ 1559004 w 3647937"/>
                <a:gd name="connsiteY11" fmla="*/ 2096887 h 4669890"/>
                <a:gd name="connsiteX12" fmla="*/ 1498204 w 3647937"/>
                <a:gd name="connsiteY12" fmla="*/ 1994600 h 4669890"/>
                <a:gd name="connsiteX13" fmla="*/ 1497310 w 3647937"/>
                <a:gd name="connsiteY13" fmla="*/ 1967061 h 4669890"/>
                <a:gd name="connsiteX14" fmla="*/ 1466374 w 3647937"/>
                <a:gd name="connsiteY14" fmla="*/ 1930850 h 4669890"/>
                <a:gd name="connsiteX15" fmla="*/ 1459042 w 3647937"/>
                <a:gd name="connsiteY15" fmla="*/ 1942562 h 4669890"/>
                <a:gd name="connsiteX16" fmla="*/ 1470665 w 3647937"/>
                <a:gd name="connsiteY16" fmla="*/ 1983245 h 4669890"/>
                <a:gd name="connsiteX17" fmla="*/ 1476924 w 3647937"/>
                <a:gd name="connsiteY17" fmla="*/ 1994153 h 4669890"/>
                <a:gd name="connsiteX18" fmla="*/ 1485865 w 3647937"/>
                <a:gd name="connsiteY18" fmla="*/ 2008459 h 4669890"/>
                <a:gd name="connsiteX19" fmla="*/ 1499188 w 3647937"/>
                <a:gd name="connsiteY19" fmla="*/ 2036266 h 4669890"/>
                <a:gd name="connsiteX20" fmla="*/ 1548185 w 3647937"/>
                <a:gd name="connsiteY20" fmla="*/ 2168774 h 4669890"/>
                <a:gd name="connsiteX21" fmla="*/ 1583860 w 3647937"/>
                <a:gd name="connsiteY21" fmla="*/ 2212675 h 4669890"/>
                <a:gd name="connsiteX22" fmla="*/ 1574919 w 3647937"/>
                <a:gd name="connsiteY22" fmla="*/ 2244684 h 4669890"/>
                <a:gd name="connsiteX23" fmla="*/ 1495522 w 3647937"/>
                <a:gd name="connsiteY23" fmla="*/ 2177178 h 4669890"/>
                <a:gd name="connsiteX24" fmla="*/ 1454124 w 3647937"/>
                <a:gd name="connsiteY24" fmla="*/ 2111014 h 4669890"/>
                <a:gd name="connsiteX25" fmla="*/ 1440891 w 3647937"/>
                <a:gd name="connsiteY25" fmla="*/ 2097155 h 4669890"/>
                <a:gd name="connsiteX26" fmla="*/ 1448849 w 3647937"/>
                <a:gd name="connsiteY26" fmla="*/ 2060407 h 4669890"/>
                <a:gd name="connsiteX27" fmla="*/ 1416661 w 3647937"/>
                <a:gd name="connsiteY27" fmla="*/ 2005597 h 4669890"/>
                <a:gd name="connsiteX28" fmla="*/ 1379555 w 3647937"/>
                <a:gd name="connsiteY28" fmla="*/ 1905904 h 4669890"/>
                <a:gd name="connsiteX29" fmla="*/ 1374101 w 3647937"/>
                <a:gd name="connsiteY29" fmla="*/ 1879438 h 4669890"/>
                <a:gd name="connsiteX30" fmla="*/ 1342807 w 3647937"/>
                <a:gd name="connsiteY30" fmla="*/ 1847339 h 4669890"/>
                <a:gd name="connsiteX31" fmla="*/ 1262068 w 3647937"/>
                <a:gd name="connsiteY31" fmla="*/ 1733518 h 4669890"/>
                <a:gd name="connsiteX32" fmla="*/ 1258402 w 3647937"/>
                <a:gd name="connsiteY32" fmla="*/ 1704906 h 4669890"/>
                <a:gd name="connsiteX33" fmla="*/ 1223800 w 3647937"/>
                <a:gd name="connsiteY33" fmla="*/ 1510079 h 4669890"/>
                <a:gd name="connsiteX34" fmla="*/ 1228628 w 3647937"/>
                <a:gd name="connsiteY34" fmla="*/ 1454554 h 4669890"/>
                <a:gd name="connsiteX35" fmla="*/ 1260906 w 3647937"/>
                <a:gd name="connsiteY35" fmla="*/ 1365411 h 4669890"/>
                <a:gd name="connsiteX36" fmla="*/ 1273066 w 3647937"/>
                <a:gd name="connsiteY36" fmla="*/ 1327143 h 4669890"/>
                <a:gd name="connsiteX37" fmla="*/ 1269400 w 3647937"/>
                <a:gd name="connsiteY37" fmla="*/ 1304343 h 4669890"/>
                <a:gd name="connsiteX38" fmla="*/ 1264303 w 3647937"/>
                <a:gd name="connsiteY38" fmla="*/ 1255434 h 4669890"/>
                <a:gd name="connsiteX39" fmla="*/ 1271367 w 3647937"/>
                <a:gd name="connsiteY39" fmla="*/ 1227627 h 4669890"/>
                <a:gd name="connsiteX40" fmla="*/ 1318755 w 3647937"/>
                <a:gd name="connsiteY40" fmla="*/ 1227627 h 4669890"/>
                <a:gd name="connsiteX41" fmla="*/ 1299532 w 3647937"/>
                <a:gd name="connsiteY41" fmla="*/ 1188197 h 4669890"/>
                <a:gd name="connsiteX42" fmla="*/ 1267343 w 3647937"/>
                <a:gd name="connsiteY42" fmla="*/ 1150018 h 4669890"/>
                <a:gd name="connsiteX43" fmla="*/ 1198049 w 3647937"/>
                <a:gd name="connsiteY43" fmla="*/ 1120244 h 4669890"/>
                <a:gd name="connsiteX44" fmla="*/ 1165057 w 3647937"/>
                <a:gd name="connsiteY44" fmla="*/ 1006781 h 4669890"/>
                <a:gd name="connsiteX45" fmla="*/ 1136892 w 3647937"/>
                <a:gd name="connsiteY45" fmla="*/ 970301 h 4669890"/>
                <a:gd name="connsiteX46" fmla="*/ 1133047 w 3647937"/>
                <a:gd name="connsiteY46" fmla="*/ 961807 h 4669890"/>
                <a:gd name="connsiteX47" fmla="*/ 1113645 w 3647937"/>
                <a:gd name="connsiteY47" fmla="*/ 908518 h 4669890"/>
                <a:gd name="connsiteX48" fmla="*/ 1091918 w 3647937"/>
                <a:gd name="connsiteY48" fmla="*/ 839224 h 4669890"/>
                <a:gd name="connsiteX49" fmla="*/ 1061160 w 3647937"/>
                <a:gd name="connsiteY49" fmla="*/ 802744 h 4669890"/>
                <a:gd name="connsiteX50" fmla="*/ 1019942 w 3647937"/>
                <a:gd name="connsiteY50" fmla="*/ 741139 h 4669890"/>
                <a:gd name="connsiteX51" fmla="*/ 988469 w 3647937"/>
                <a:gd name="connsiteY51" fmla="*/ 742302 h 4669890"/>
                <a:gd name="connsiteX52" fmla="*/ 942154 w 3647937"/>
                <a:gd name="connsiteY52" fmla="*/ 730320 h 4669890"/>
                <a:gd name="connsiteX53" fmla="*/ 904511 w 3647937"/>
                <a:gd name="connsiteY53" fmla="*/ 700636 h 4669890"/>
                <a:gd name="connsiteX54" fmla="*/ 877867 w 3647937"/>
                <a:gd name="connsiteY54" fmla="*/ 689191 h 4669890"/>
                <a:gd name="connsiteX55" fmla="*/ 715048 w 3647937"/>
                <a:gd name="connsiteY55" fmla="*/ 660132 h 4669890"/>
                <a:gd name="connsiteX56" fmla="*/ 657020 w 3647937"/>
                <a:gd name="connsiteY56" fmla="*/ 646273 h 4669890"/>
                <a:gd name="connsiteX57" fmla="*/ 637350 w 3647937"/>
                <a:gd name="connsiteY57" fmla="*/ 672203 h 4669890"/>
                <a:gd name="connsiteX58" fmla="*/ 555717 w 3647937"/>
                <a:gd name="connsiteY58" fmla="*/ 720217 h 4669890"/>
                <a:gd name="connsiteX59" fmla="*/ 525317 w 3647937"/>
                <a:gd name="connsiteY59" fmla="*/ 717445 h 4669890"/>
                <a:gd name="connsiteX60" fmla="*/ 515392 w 3647937"/>
                <a:gd name="connsiteY60" fmla="*/ 659953 h 4669890"/>
                <a:gd name="connsiteX61" fmla="*/ 486602 w 3647937"/>
                <a:gd name="connsiteY61" fmla="*/ 699652 h 4669890"/>
                <a:gd name="connsiteX62" fmla="*/ 473726 w 3647937"/>
                <a:gd name="connsiteY62" fmla="*/ 749454 h 4669890"/>
                <a:gd name="connsiteX63" fmla="*/ 457275 w 3647937"/>
                <a:gd name="connsiteY63" fmla="*/ 780570 h 4669890"/>
                <a:gd name="connsiteX64" fmla="*/ 262983 w 3647937"/>
                <a:gd name="connsiteY64" fmla="*/ 920946 h 4669890"/>
                <a:gd name="connsiteX65" fmla="*/ 216668 w 3647937"/>
                <a:gd name="connsiteY65" fmla="*/ 944461 h 4669890"/>
                <a:gd name="connsiteX66" fmla="*/ 52866 w 3647937"/>
                <a:gd name="connsiteY66" fmla="*/ 1006423 h 4669890"/>
                <a:gd name="connsiteX67" fmla="*/ 46160 w 3647937"/>
                <a:gd name="connsiteY67" fmla="*/ 1012235 h 4669890"/>
                <a:gd name="connsiteX68" fmla="*/ 19426 w 3647937"/>
                <a:gd name="connsiteY68" fmla="*/ 1031995 h 4669890"/>
                <a:gd name="connsiteX69" fmla="*/ 5657 w 3647937"/>
                <a:gd name="connsiteY69" fmla="*/ 1021176 h 4669890"/>
                <a:gd name="connsiteX70" fmla="*/ 144781 w 3647937"/>
                <a:gd name="connsiteY70" fmla="*/ 929798 h 4669890"/>
                <a:gd name="connsiteX71" fmla="*/ 181976 w 3647937"/>
                <a:gd name="connsiteY71" fmla="*/ 905478 h 4669890"/>
                <a:gd name="connsiteX72" fmla="*/ 229186 w 3647937"/>
                <a:gd name="connsiteY72" fmla="*/ 871412 h 4669890"/>
                <a:gd name="connsiteX73" fmla="*/ 291684 w 3647937"/>
                <a:gd name="connsiteY73" fmla="*/ 796396 h 4669890"/>
                <a:gd name="connsiteX74" fmla="*/ 293294 w 3647937"/>
                <a:gd name="connsiteY74" fmla="*/ 778781 h 4669890"/>
                <a:gd name="connsiteX75" fmla="*/ 272640 w 3647937"/>
                <a:gd name="connsiteY75" fmla="*/ 781285 h 4669890"/>
                <a:gd name="connsiteX76" fmla="*/ 220602 w 3647937"/>
                <a:gd name="connsiteY76" fmla="*/ 791925 h 4669890"/>
                <a:gd name="connsiteX77" fmla="*/ 188414 w 3647937"/>
                <a:gd name="connsiteY77" fmla="*/ 787186 h 4669890"/>
                <a:gd name="connsiteX78" fmla="*/ 144602 w 3647937"/>
                <a:gd name="connsiteY78" fmla="*/ 745520 h 4669890"/>
                <a:gd name="connsiteX79" fmla="*/ 136466 w 3647937"/>
                <a:gd name="connsiteY79" fmla="*/ 710292 h 4669890"/>
                <a:gd name="connsiteX80" fmla="*/ 72805 w 3647937"/>
                <a:gd name="connsiteY80" fmla="*/ 716909 h 4669890"/>
                <a:gd name="connsiteX81" fmla="*/ 51346 w 3647937"/>
                <a:gd name="connsiteY81" fmla="*/ 678819 h 4669890"/>
                <a:gd name="connsiteX82" fmla="*/ 85412 w 3647937"/>
                <a:gd name="connsiteY82" fmla="*/ 662189 h 4669890"/>
                <a:gd name="connsiteX83" fmla="*/ 81478 w 3647937"/>
                <a:gd name="connsiteY83" fmla="*/ 658433 h 4669890"/>
                <a:gd name="connsiteX84" fmla="*/ 51436 w 3647937"/>
                <a:gd name="connsiteY84" fmla="*/ 575728 h 4669890"/>
                <a:gd name="connsiteX85" fmla="*/ 136108 w 3647937"/>
                <a:gd name="connsiteY85" fmla="*/ 510904 h 4669890"/>
                <a:gd name="connsiteX86" fmla="*/ 205760 w 3647937"/>
                <a:gd name="connsiteY86" fmla="*/ 483813 h 4669890"/>
                <a:gd name="connsiteX87" fmla="*/ 232136 w 3647937"/>
                <a:gd name="connsiteY87" fmla="*/ 432133 h 4669890"/>
                <a:gd name="connsiteX88" fmla="*/ 177595 w 3647937"/>
                <a:gd name="connsiteY88" fmla="*/ 453144 h 4669890"/>
                <a:gd name="connsiteX89" fmla="*/ 105977 w 3647937"/>
                <a:gd name="connsiteY89" fmla="*/ 457526 h 4669890"/>
                <a:gd name="connsiteX90" fmla="*/ 57784 w 3647937"/>
                <a:gd name="connsiteY90" fmla="*/ 441968 h 4669890"/>
                <a:gd name="connsiteX91" fmla="*/ 17727 w 3647937"/>
                <a:gd name="connsiteY91" fmla="*/ 408528 h 4669890"/>
                <a:gd name="connsiteX92" fmla="*/ 18890 w 3647937"/>
                <a:gd name="connsiteY92" fmla="*/ 369634 h 4669890"/>
                <a:gd name="connsiteX93" fmla="*/ 79958 w 3647937"/>
                <a:gd name="connsiteY93" fmla="*/ 341201 h 4669890"/>
                <a:gd name="connsiteX94" fmla="*/ 92565 w 3647937"/>
                <a:gd name="connsiteY94" fmla="*/ 334406 h 4669890"/>
                <a:gd name="connsiteX95" fmla="*/ 151755 w 3647937"/>
                <a:gd name="connsiteY95" fmla="*/ 309728 h 4669890"/>
                <a:gd name="connsiteX96" fmla="*/ 176701 w 3647937"/>
                <a:gd name="connsiteY96" fmla="*/ 324660 h 4669890"/>
                <a:gd name="connsiteX97" fmla="*/ 215416 w 3647937"/>
                <a:gd name="connsiteY97" fmla="*/ 316345 h 4669890"/>
                <a:gd name="connsiteX98" fmla="*/ 226772 w 3647937"/>
                <a:gd name="connsiteY98" fmla="*/ 306152 h 4669890"/>
                <a:gd name="connsiteX99" fmla="*/ 146480 w 3647937"/>
                <a:gd name="connsiteY99" fmla="*/ 267526 h 4669890"/>
                <a:gd name="connsiteX100" fmla="*/ 107944 w 3647937"/>
                <a:gd name="connsiteY100" fmla="*/ 244011 h 4669890"/>
                <a:gd name="connsiteX101" fmla="*/ 101059 w 3647937"/>
                <a:gd name="connsiteY101" fmla="*/ 199126 h 4669890"/>
                <a:gd name="connsiteX102" fmla="*/ 135482 w 3647937"/>
                <a:gd name="connsiteY102" fmla="*/ 182496 h 4669890"/>
                <a:gd name="connsiteX103" fmla="*/ 233120 w 3647937"/>
                <a:gd name="connsiteY103" fmla="*/ 124736 h 4669890"/>
                <a:gd name="connsiteX104" fmla="*/ 335585 w 3647937"/>
                <a:gd name="connsiteY104" fmla="*/ 79404 h 4669890"/>
                <a:gd name="connsiteX105" fmla="*/ 335049 w 3647937"/>
                <a:gd name="connsiteY105" fmla="*/ 79851 h 4669890"/>
                <a:gd name="connsiteX106" fmla="*/ 355703 w 3647937"/>
                <a:gd name="connsiteY106" fmla="*/ 73861 h 4669890"/>
                <a:gd name="connsiteX107" fmla="*/ 380291 w 3647937"/>
                <a:gd name="connsiteY107" fmla="*/ 58124 h 4669890"/>
                <a:gd name="connsiteX108" fmla="*/ 412390 w 3647937"/>
                <a:gd name="connsiteY108" fmla="*/ 41762 h 4669890"/>
                <a:gd name="connsiteX109" fmla="*/ 487585 w 3647937"/>
                <a:gd name="connsiteY109" fmla="*/ 27188 h 4669890"/>
                <a:gd name="connsiteX110" fmla="*/ 515213 w 3647937"/>
                <a:gd name="connsiteY110" fmla="*/ 27009 h 4669890"/>
                <a:gd name="connsiteX111" fmla="*/ 614102 w 3647937"/>
                <a:gd name="connsiteY111" fmla="*/ 41315 h 4669890"/>
                <a:gd name="connsiteX112" fmla="*/ 617232 w 3647937"/>
                <a:gd name="connsiteY112" fmla="*/ 41762 h 4669890"/>
                <a:gd name="connsiteX113" fmla="*/ 772629 w 3647937"/>
                <a:gd name="connsiteY113" fmla="*/ 57051 h 4669890"/>
                <a:gd name="connsiteX114" fmla="*/ 788723 w 3647937"/>
                <a:gd name="connsiteY114" fmla="*/ 58750 h 4669890"/>
                <a:gd name="connsiteX115" fmla="*/ 903707 w 3647937"/>
                <a:gd name="connsiteY115" fmla="*/ 84948 h 4669890"/>
                <a:gd name="connsiteX116" fmla="*/ 910412 w 3647937"/>
                <a:gd name="connsiteY116" fmla="*/ 84143 h 4669890"/>
                <a:gd name="connsiteX117" fmla="*/ 929278 w 3647937"/>
                <a:gd name="connsiteY117" fmla="*/ 82802 h 4669890"/>
                <a:gd name="connsiteX118" fmla="*/ 1031386 w 3647937"/>
                <a:gd name="connsiteY118" fmla="*/ 111414 h 4669890"/>
                <a:gd name="connsiteX119" fmla="*/ 1084318 w 3647937"/>
                <a:gd name="connsiteY119" fmla="*/ 135823 h 4669890"/>
                <a:gd name="connsiteX120" fmla="*/ 1129560 w 3647937"/>
                <a:gd name="connsiteY120" fmla="*/ 152990 h 4669890"/>
                <a:gd name="connsiteX121" fmla="*/ 1146191 w 3647937"/>
                <a:gd name="connsiteY121" fmla="*/ 147268 h 4669890"/>
                <a:gd name="connsiteX122" fmla="*/ 1193937 w 3647937"/>
                <a:gd name="connsiteY122" fmla="*/ 116868 h 4669890"/>
                <a:gd name="connsiteX123" fmla="*/ 1314463 w 3647937"/>
                <a:gd name="connsiteY123" fmla="*/ 79136 h 4669890"/>
                <a:gd name="connsiteX124" fmla="*/ 1341913 w 3647937"/>
                <a:gd name="connsiteY124" fmla="*/ 79583 h 4669890"/>
                <a:gd name="connsiteX125" fmla="*/ 1335028 w 3647937"/>
                <a:gd name="connsiteY125" fmla="*/ 100595 h 4669890"/>
                <a:gd name="connsiteX126" fmla="*/ 1334313 w 3647937"/>
                <a:gd name="connsiteY126" fmla="*/ 101936 h 4669890"/>
                <a:gd name="connsiteX127" fmla="*/ 1354788 w 3647937"/>
                <a:gd name="connsiteY127" fmla="*/ 93978 h 4669890"/>
                <a:gd name="connsiteX128" fmla="*/ 1407898 w 3647937"/>
                <a:gd name="connsiteY128" fmla="*/ 65545 h 4669890"/>
                <a:gd name="connsiteX129" fmla="*/ 1408167 w 3647937"/>
                <a:gd name="connsiteY129" fmla="*/ 61164 h 4669890"/>
                <a:gd name="connsiteX130" fmla="*/ 1439818 w 3647937"/>
                <a:gd name="connsiteY130" fmla="*/ 75470 h 4669890"/>
                <a:gd name="connsiteX131" fmla="*/ 1446256 w 3647937"/>
                <a:gd name="connsiteY131" fmla="*/ 103992 h 4669890"/>
                <a:gd name="connsiteX132" fmla="*/ 1471559 w 3647937"/>
                <a:gd name="connsiteY132" fmla="*/ 108552 h 4669890"/>
                <a:gd name="connsiteX133" fmla="*/ 1524223 w 3647937"/>
                <a:gd name="connsiteY133" fmla="*/ 115795 h 4669890"/>
                <a:gd name="connsiteX134" fmla="*/ 1607733 w 3647937"/>
                <a:gd name="connsiteY134" fmla="*/ 110698 h 4669890"/>
                <a:gd name="connsiteX135" fmla="*/ 1684091 w 3647937"/>
                <a:gd name="connsiteY135" fmla="*/ 147625 h 4669890"/>
                <a:gd name="connsiteX136" fmla="*/ 1725309 w 3647937"/>
                <a:gd name="connsiteY136" fmla="*/ 153795 h 4669890"/>
                <a:gd name="connsiteX137" fmla="*/ 1760090 w 3647937"/>
                <a:gd name="connsiteY137" fmla="*/ 158980 h 4669890"/>
                <a:gd name="connsiteX138" fmla="*/ 1759107 w 3647937"/>
                <a:gd name="connsiteY138" fmla="*/ 226754 h 4669890"/>
                <a:gd name="connsiteX139" fmla="*/ 1856566 w 3647937"/>
                <a:gd name="connsiteY139" fmla="*/ 223089 h 4669890"/>
                <a:gd name="connsiteX140" fmla="*/ 1947855 w 3647937"/>
                <a:gd name="connsiteY140" fmla="*/ 274232 h 4669890"/>
                <a:gd name="connsiteX141" fmla="*/ 1954471 w 3647937"/>
                <a:gd name="connsiteY141" fmla="*/ 222820 h 4669890"/>
                <a:gd name="connsiteX142" fmla="*/ 1972622 w 3647937"/>
                <a:gd name="connsiteY142" fmla="*/ 211197 h 4669890"/>
                <a:gd name="connsiteX143" fmla="*/ 1956975 w 3647937"/>
                <a:gd name="connsiteY143" fmla="*/ 202613 h 4669890"/>
                <a:gd name="connsiteX144" fmla="*/ 1964664 w 3647937"/>
                <a:gd name="connsiteY144" fmla="*/ 186162 h 4669890"/>
                <a:gd name="connsiteX145" fmla="*/ 2046833 w 3647937"/>
                <a:gd name="connsiteY145" fmla="*/ 193583 h 4669890"/>
                <a:gd name="connsiteX146" fmla="*/ 2138480 w 3647937"/>
                <a:gd name="connsiteY146" fmla="*/ 234354 h 4669890"/>
                <a:gd name="connsiteX147" fmla="*/ 2187120 w 3647937"/>
                <a:gd name="connsiteY147" fmla="*/ 231761 h 4669890"/>
                <a:gd name="connsiteX148" fmla="*/ 2207774 w 3647937"/>
                <a:gd name="connsiteY148" fmla="*/ 224698 h 4669890"/>
                <a:gd name="connsiteX149" fmla="*/ 2264461 w 3647937"/>
                <a:gd name="connsiteY149" fmla="*/ 210392 h 4669890"/>
                <a:gd name="connsiteX150" fmla="*/ 2283238 w 3647937"/>
                <a:gd name="connsiteY150" fmla="*/ 261357 h 4669890"/>
                <a:gd name="connsiteX151" fmla="*/ 2279214 w 3647937"/>
                <a:gd name="connsiteY151" fmla="*/ 275037 h 4669890"/>
                <a:gd name="connsiteX152" fmla="*/ 2286278 w 3647937"/>
                <a:gd name="connsiteY152" fmla="*/ 267884 h 4669890"/>
                <a:gd name="connsiteX153" fmla="*/ 2321595 w 3647937"/>
                <a:gd name="connsiteY153" fmla="*/ 211286 h 4669890"/>
                <a:gd name="connsiteX154" fmla="*/ 2315247 w 3647937"/>
                <a:gd name="connsiteY154" fmla="*/ 139936 h 4669890"/>
                <a:gd name="connsiteX155" fmla="*/ 2305143 w 3647937"/>
                <a:gd name="connsiteY155" fmla="*/ 38722 h 4669890"/>
                <a:gd name="connsiteX156" fmla="*/ 2331609 w 3647937"/>
                <a:gd name="connsiteY156" fmla="*/ 14491 h 4669890"/>
                <a:gd name="connsiteX157" fmla="*/ 2369609 w 3647937"/>
                <a:gd name="connsiteY157" fmla="*/ 2868 h 4669890"/>
                <a:gd name="connsiteX158" fmla="*/ 2408593 w 3647937"/>
                <a:gd name="connsiteY158" fmla="*/ 42567 h 4669890"/>
                <a:gd name="connsiteX159" fmla="*/ 2426296 w 3647937"/>
                <a:gd name="connsiteY159" fmla="*/ 93084 h 4669890"/>
                <a:gd name="connsiteX160" fmla="*/ 2430856 w 3647937"/>
                <a:gd name="connsiteY160" fmla="*/ 101578 h 4669890"/>
                <a:gd name="connsiteX161" fmla="*/ 2435952 w 3647937"/>
                <a:gd name="connsiteY161" fmla="*/ 145837 h 4669890"/>
                <a:gd name="connsiteX162" fmla="*/ 2443552 w 3647937"/>
                <a:gd name="connsiteY162" fmla="*/ 193851 h 4669890"/>
                <a:gd name="connsiteX163" fmla="*/ 2453030 w 3647937"/>
                <a:gd name="connsiteY163" fmla="*/ 179366 h 4669890"/>
                <a:gd name="connsiteX164" fmla="*/ 2484145 w 3647937"/>
                <a:gd name="connsiteY164" fmla="*/ 166759 h 4669890"/>
                <a:gd name="connsiteX165" fmla="*/ 2506767 w 3647937"/>
                <a:gd name="connsiteY165" fmla="*/ 195997 h 4669890"/>
                <a:gd name="connsiteX166" fmla="*/ 2501134 w 3647937"/>
                <a:gd name="connsiteY166" fmla="*/ 224340 h 4669890"/>
                <a:gd name="connsiteX167" fmla="*/ 2508912 w 3647937"/>
                <a:gd name="connsiteY167" fmla="*/ 246425 h 4669890"/>
                <a:gd name="connsiteX168" fmla="*/ 2522592 w 3647937"/>
                <a:gd name="connsiteY168" fmla="*/ 236411 h 4669890"/>
                <a:gd name="connsiteX169" fmla="*/ 2580978 w 3647937"/>
                <a:gd name="connsiteY169" fmla="*/ 141545 h 4669890"/>
                <a:gd name="connsiteX170" fmla="*/ 2609411 w 3647937"/>
                <a:gd name="connsiteY170" fmla="*/ 126613 h 4669890"/>
                <a:gd name="connsiteX171" fmla="*/ 2678705 w 3647937"/>
                <a:gd name="connsiteY171" fmla="*/ 172660 h 4669890"/>
                <a:gd name="connsiteX172" fmla="*/ 2676023 w 3647937"/>
                <a:gd name="connsiteY172" fmla="*/ 212091 h 4669890"/>
                <a:gd name="connsiteX173" fmla="*/ 2663415 w 3647937"/>
                <a:gd name="connsiteY173" fmla="*/ 236947 h 4669890"/>
                <a:gd name="connsiteX174" fmla="*/ 2664936 w 3647937"/>
                <a:gd name="connsiteY174" fmla="*/ 250538 h 4669890"/>
                <a:gd name="connsiteX175" fmla="*/ 2624700 w 3647937"/>
                <a:gd name="connsiteY175" fmla="*/ 320815 h 4669890"/>
                <a:gd name="connsiteX176" fmla="*/ 2584554 w 3647937"/>
                <a:gd name="connsiteY176" fmla="*/ 312053 h 4669890"/>
                <a:gd name="connsiteX177" fmla="*/ 2568460 w 3647937"/>
                <a:gd name="connsiteY177" fmla="*/ 341112 h 4669890"/>
                <a:gd name="connsiteX178" fmla="*/ 2536183 w 3647937"/>
                <a:gd name="connsiteY178" fmla="*/ 339055 h 4669890"/>
                <a:gd name="connsiteX179" fmla="*/ 2513472 w 3647937"/>
                <a:gd name="connsiteY179" fmla="*/ 350142 h 4669890"/>
                <a:gd name="connsiteX180" fmla="*/ 2470644 w 3647937"/>
                <a:gd name="connsiteY180" fmla="*/ 379380 h 4669890"/>
                <a:gd name="connsiteX181" fmla="*/ 2471181 w 3647937"/>
                <a:gd name="connsiteY181" fmla="*/ 383135 h 4669890"/>
                <a:gd name="connsiteX182" fmla="*/ 2444894 w 3647937"/>
                <a:gd name="connsiteY182" fmla="*/ 448406 h 4669890"/>
                <a:gd name="connsiteX183" fmla="*/ 2371666 w 3647937"/>
                <a:gd name="connsiteY183" fmla="*/ 474693 h 4669890"/>
                <a:gd name="connsiteX184" fmla="*/ 2356287 w 3647937"/>
                <a:gd name="connsiteY184" fmla="*/ 471116 h 4669890"/>
                <a:gd name="connsiteX185" fmla="*/ 2347972 w 3647937"/>
                <a:gd name="connsiteY185" fmla="*/ 466556 h 4669890"/>
                <a:gd name="connsiteX186" fmla="*/ 2345289 w 3647937"/>
                <a:gd name="connsiteY186" fmla="*/ 507507 h 4669890"/>
                <a:gd name="connsiteX187" fmla="*/ 2313280 w 3647937"/>
                <a:gd name="connsiteY187" fmla="*/ 539427 h 4669890"/>
                <a:gd name="connsiteX188" fmla="*/ 2240052 w 3647937"/>
                <a:gd name="connsiteY188" fmla="*/ 631342 h 4669890"/>
                <a:gd name="connsiteX189" fmla="*/ 2236565 w 3647937"/>
                <a:gd name="connsiteY189" fmla="*/ 687760 h 4669890"/>
                <a:gd name="connsiteX190" fmla="*/ 2239158 w 3647937"/>
                <a:gd name="connsiteY190" fmla="*/ 700189 h 4669890"/>
                <a:gd name="connsiteX191" fmla="*/ 2274654 w 3647937"/>
                <a:gd name="connsiteY191" fmla="*/ 765101 h 4669890"/>
                <a:gd name="connsiteX192" fmla="*/ 2296918 w 3647937"/>
                <a:gd name="connsiteY192" fmla="*/ 784146 h 4669890"/>
                <a:gd name="connsiteX193" fmla="*/ 2433181 w 3647937"/>
                <a:gd name="connsiteY193" fmla="*/ 853082 h 4669890"/>
                <a:gd name="connsiteX194" fmla="*/ 2482983 w 3647937"/>
                <a:gd name="connsiteY194" fmla="*/ 870697 h 4669890"/>
                <a:gd name="connsiteX195" fmla="*/ 2527152 w 3647937"/>
                <a:gd name="connsiteY195" fmla="*/ 912094 h 4669890"/>
                <a:gd name="connsiteX196" fmla="*/ 2531265 w 3647937"/>
                <a:gd name="connsiteY196" fmla="*/ 1015364 h 4669890"/>
                <a:gd name="connsiteX197" fmla="*/ 2550399 w 3647937"/>
                <a:gd name="connsiteY197" fmla="*/ 1043976 h 4669890"/>
                <a:gd name="connsiteX198" fmla="*/ 2581067 w 3647937"/>
                <a:gd name="connsiteY198" fmla="*/ 1011252 h 4669890"/>
                <a:gd name="connsiteX199" fmla="*/ 2587863 w 3647937"/>
                <a:gd name="connsiteY199" fmla="*/ 917638 h 4669890"/>
                <a:gd name="connsiteX200" fmla="*/ 2608606 w 3647937"/>
                <a:gd name="connsiteY200" fmla="*/ 893496 h 4669890"/>
                <a:gd name="connsiteX201" fmla="*/ 2679867 w 3647937"/>
                <a:gd name="connsiteY201" fmla="*/ 805694 h 4669890"/>
                <a:gd name="connsiteX202" fmla="*/ 2655905 w 3647937"/>
                <a:gd name="connsiteY202" fmla="*/ 736758 h 4669890"/>
                <a:gd name="connsiteX203" fmla="*/ 2653223 w 3647937"/>
                <a:gd name="connsiteY203" fmla="*/ 696076 h 4669890"/>
                <a:gd name="connsiteX204" fmla="*/ 2696856 w 3647937"/>
                <a:gd name="connsiteY204" fmla="*/ 574297 h 4669890"/>
                <a:gd name="connsiteX205" fmla="*/ 2755599 w 3647937"/>
                <a:gd name="connsiteY205" fmla="*/ 530307 h 4669890"/>
                <a:gd name="connsiteX206" fmla="*/ 2774733 w 3647937"/>
                <a:gd name="connsiteY206" fmla="*/ 533973 h 4669890"/>
                <a:gd name="connsiteX207" fmla="*/ 2874248 w 3647937"/>
                <a:gd name="connsiteY207" fmla="*/ 587888 h 4669890"/>
                <a:gd name="connsiteX208" fmla="*/ 2889448 w 3647937"/>
                <a:gd name="connsiteY208" fmla="*/ 597812 h 4669890"/>
                <a:gd name="connsiteX209" fmla="*/ 2907777 w 3647937"/>
                <a:gd name="connsiteY209" fmla="*/ 637958 h 4669890"/>
                <a:gd name="connsiteX210" fmla="*/ 2901697 w 3647937"/>
                <a:gd name="connsiteY210" fmla="*/ 692499 h 4669890"/>
                <a:gd name="connsiteX211" fmla="*/ 2929415 w 3647937"/>
                <a:gd name="connsiteY211" fmla="*/ 719949 h 4669890"/>
                <a:gd name="connsiteX212" fmla="*/ 2973942 w 3647937"/>
                <a:gd name="connsiteY212" fmla="*/ 710560 h 4669890"/>
                <a:gd name="connsiteX213" fmla="*/ 3006398 w 3647937"/>
                <a:gd name="connsiteY213" fmla="*/ 661742 h 4669890"/>
                <a:gd name="connsiteX214" fmla="*/ 3042699 w 3647937"/>
                <a:gd name="connsiteY214" fmla="*/ 642697 h 4669890"/>
                <a:gd name="connsiteX215" fmla="*/ 3059151 w 3647937"/>
                <a:gd name="connsiteY215" fmla="*/ 680518 h 4669890"/>
                <a:gd name="connsiteX216" fmla="*/ 3080878 w 3647937"/>
                <a:gd name="connsiteY216" fmla="*/ 754461 h 4669890"/>
                <a:gd name="connsiteX217" fmla="*/ 3093932 w 3647937"/>
                <a:gd name="connsiteY217" fmla="*/ 817318 h 4669890"/>
                <a:gd name="connsiteX218" fmla="*/ 3130770 w 3647937"/>
                <a:gd name="connsiteY218" fmla="*/ 882320 h 4669890"/>
                <a:gd name="connsiteX219" fmla="*/ 3150530 w 3647937"/>
                <a:gd name="connsiteY219" fmla="*/ 893675 h 4669890"/>
                <a:gd name="connsiteX220" fmla="*/ 3175654 w 3647937"/>
                <a:gd name="connsiteY220" fmla="*/ 924343 h 4669890"/>
                <a:gd name="connsiteX221" fmla="*/ 3161438 w 3647937"/>
                <a:gd name="connsiteY221" fmla="*/ 936056 h 4669890"/>
                <a:gd name="connsiteX222" fmla="*/ 3212760 w 3647937"/>
                <a:gd name="connsiteY222" fmla="*/ 990240 h 4669890"/>
                <a:gd name="connsiteX223" fmla="*/ 3206412 w 3647937"/>
                <a:gd name="connsiteY223" fmla="*/ 1025110 h 4669890"/>
                <a:gd name="connsiteX224" fmla="*/ 3202478 w 3647937"/>
                <a:gd name="connsiteY224" fmla="*/ 1034320 h 4669890"/>
                <a:gd name="connsiteX225" fmla="*/ 3165998 w 3647937"/>
                <a:gd name="connsiteY225" fmla="*/ 1059355 h 4669890"/>
                <a:gd name="connsiteX226" fmla="*/ 3094737 w 3647937"/>
                <a:gd name="connsiteY226" fmla="*/ 1101557 h 4669890"/>
                <a:gd name="connsiteX227" fmla="*/ 3006130 w 3647937"/>
                <a:gd name="connsiteY227" fmla="*/ 1108621 h 4669890"/>
                <a:gd name="connsiteX228" fmla="*/ 2956954 w 3647937"/>
                <a:gd name="connsiteY228" fmla="*/ 1107905 h 4669890"/>
                <a:gd name="connsiteX229" fmla="*/ 2910013 w 3647937"/>
                <a:gd name="connsiteY229" fmla="*/ 1129096 h 4669890"/>
                <a:gd name="connsiteX230" fmla="*/ 2915288 w 3647937"/>
                <a:gd name="connsiteY230" fmla="*/ 1139199 h 4669890"/>
                <a:gd name="connsiteX231" fmla="*/ 2931292 w 3647937"/>
                <a:gd name="connsiteY231" fmla="*/ 1138037 h 4669890"/>
                <a:gd name="connsiteX232" fmla="*/ 2965537 w 3647937"/>
                <a:gd name="connsiteY232" fmla="*/ 1163519 h 4669890"/>
                <a:gd name="connsiteX233" fmla="*/ 2944347 w 3647937"/>
                <a:gd name="connsiteY233" fmla="*/ 1202860 h 4669890"/>
                <a:gd name="connsiteX234" fmla="*/ 2936210 w 3647937"/>
                <a:gd name="connsiteY234" fmla="*/ 1213322 h 4669890"/>
                <a:gd name="connsiteX235" fmla="*/ 2977697 w 3647937"/>
                <a:gd name="connsiteY235" fmla="*/ 1281185 h 4669890"/>
                <a:gd name="connsiteX236" fmla="*/ 3005862 w 3647937"/>
                <a:gd name="connsiteY236" fmla="*/ 1285298 h 4669890"/>
                <a:gd name="connsiteX237" fmla="*/ 3025980 w 3647937"/>
                <a:gd name="connsiteY237" fmla="*/ 1296206 h 4669890"/>
                <a:gd name="connsiteX238" fmla="*/ 3027768 w 3647937"/>
                <a:gd name="connsiteY238" fmla="*/ 1315519 h 4669890"/>
                <a:gd name="connsiteX239" fmla="*/ 2985118 w 3647937"/>
                <a:gd name="connsiteY239" fmla="*/ 1341985 h 4669890"/>
                <a:gd name="connsiteX240" fmla="*/ 2924050 w 3647937"/>
                <a:gd name="connsiteY240" fmla="*/ 1380700 h 4669890"/>
                <a:gd name="connsiteX241" fmla="*/ 2880060 w 3647937"/>
                <a:gd name="connsiteY241" fmla="*/ 1381505 h 4669890"/>
                <a:gd name="connsiteX242" fmla="*/ 2878093 w 3647937"/>
                <a:gd name="connsiteY242" fmla="*/ 1351373 h 4669890"/>
                <a:gd name="connsiteX243" fmla="*/ 2880417 w 3647937"/>
                <a:gd name="connsiteY243" fmla="*/ 1341717 h 4669890"/>
                <a:gd name="connsiteX244" fmla="*/ 2873622 w 3647937"/>
                <a:gd name="connsiteY244" fmla="*/ 1331524 h 4669890"/>
                <a:gd name="connsiteX245" fmla="*/ 2868079 w 3647937"/>
                <a:gd name="connsiteY245" fmla="*/ 1337157 h 4669890"/>
                <a:gd name="connsiteX246" fmla="*/ 2844385 w 3647937"/>
                <a:gd name="connsiteY246" fmla="*/ 1360493 h 4669890"/>
                <a:gd name="connsiteX247" fmla="*/ 2777862 w 3647937"/>
                <a:gd name="connsiteY247" fmla="*/ 1400102 h 4669890"/>
                <a:gd name="connsiteX248" fmla="*/ 2770441 w 3647937"/>
                <a:gd name="connsiteY248" fmla="*/ 1449100 h 4669890"/>
                <a:gd name="connsiteX249" fmla="*/ 2770888 w 3647937"/>
                <a:gd name="connsiteY249" fmla="*/ 1466356 h 4669890"/>
                <a:gd name="connsiteX250" fmla="*/ 2734945 w 3647937"/>
                <a:gd name="connsiteY250" fmla="*/ 1478785 h 4669890"/>
                <a:gd name="connsiteX251" fmla="*/ 2662611 w 3647937"/>
                <a:gd name="connsiteY251" fmla="*/ 1500601 h 4669890"/>
                <a:gd name="connsiteX252" fmla="*/ 2657157 w 3647937"/>
                <a:gd name="connsiteY252" fmla="*/ 1503641 h 4669890"/>
                <a:gd name="connsiteX253" fmla="*/ 2615223 w 3647937"/>
                <a:gd name="connsiteY253" fmla="*/ 1597344 h 4669890"/>
                <a:gd name="connsiteX254" fmla="*/ 2585985 w 3647937"/>
                <a:gd name="connsiteY254" fmla="*/ 1641424 h 4669890"/>
                <a:gd name="connsiteX255" fmla="*/ 2577223 w 3647937"/>
                <a:gd name="connsiteY255" fmla="*/ 1656535 h 4669890"/>
                <a:gd name="connsiteX256" fmla="*/ 2573110 w 3647937"/>
                <a:gd name="connsiteY256" fmla="*/ 1705443 h 4669890"/>
                <a:gd name="connsiteX257" fmla="*/ 2560145 w 3647937"/>
                <a:gd name="connsiteY257" fmla="*/ 1729137 h 4669890"/>
                <a:gd name="connsiteX258" fmla="*/ 2483073 w 3647937"/>
                <a:gd name="connsiteY258" fmla="*/ 1786271 h 4669890"/>
                <a:gd name="connsiteX259" fmla="*/ 2407877 w 3647937"/>
                <a:gd name="connsiteY259" fmla="*/ 1909480 h 4669890"/>
                <a:gd name="connsiteX260" fmla="*/ 2417087 w 3647937"/>
                <a:gd name="connsiteY260" fmla="*/ 2042614 h 4669890"/>
                <a:gd name="connsiteX261" fmla="*/ 2411990 w 3647937"/>
                <a:gd name="connsiteY261" fmla="*/ 2090628 h 4669890"/>
                <a:gd name="connsiteX262" fmla="*/ 2391515 w 3647937"/>
                <a:gd name="connsiteY262" fmla="*/ 2103324 h 4669890"/>
                <a:gd name="connsiteX263" fmla="*/ 2373275 w 3647937"/>
                <a:gd name="connsiteY263" fmla="*/ 2087320 h 4669890"/>
                <a:gd name="connsiteX264" fmla="*/ 2351459 w 3647937"/>
                <a:gd name="connsiteY264" fmla="*/ 2030990 h 4669890"/>
                <a:gd name="connsiteX265" fmla="*/ 2351101 w 3647937"/>
                <a:gd name="connsiteY265" fmla="*/ 2002736 h 4669890"/>
                <a:gd name="connsiteX266" fmla="*/ 2335275 w 3647937"/>
                <a:gd name="connsiteY266" fmla="*/ 1930581 h 4669890"/>
                <a:gd name="connsiteX267" fmla="*/ 2309435 w 3647937"/>
                <a:gd name="connsiteY267" fmla="*/ 1933085 h 4669890"/>
                <a:gd name="connsiteX268" fmla="*/ 2276979 w 3647937"/>
                <a:gd name="connsiteY268" fmla="*/ 1928167 h 4669890"/>
                <a:gd name="connsiteX269" fmla="*/ 2199280 w 3647937"/>
                <a:gd name="connsiteY269" fmla="*/ 1919852 h 4669890"/>
                <a:gd name="connsiteX270" fmla="*/ 2172814 w 3647937"/>
                <a:gd name="connsiteY270" fmla="*/ 1937645 h 4669890"/>
                <a:gd name="connsiteX271" fmla="*/ 2136871 w 3647937"/>
                <a:gd name="connsiteY271" fmla="*/ 1970727 h 4669890"/>
                <a:gd name="connsiteX272" fmla="*/ 2122386 w 3647937"/>
                <a:gd name="connsiteY272" fmla="*/ 1972962 h 4669890"/>
                <a:gd name="connsiteX273" fmla="*/ 2068292 w 3647937"/>
                <a:gd name="connsiteY273" fmla="*/ 1955706 h 4669890"/>
                <a:gd name="connsiteX274" fmla="*/ 2013572 w 3647937"/>
                <a:gd name="connsiteY274" fmla="*/ 1979132 h 4669890"/>
                <a:gd name="connsiteX275" fmla="*/ 1984514 w 3647937"/>
                <a:gd name="connsiteY275" fmla="*/ 1999071 h 4669890"/>
                <a:gd name="connsiteX276" fmla="*/ 1933549 w 3647937"/>
                <a:gd name="connsiteY276" fmla="*/ 2077127 h 4669890"/>
                <a:gd name="connsiteX277" fmla="*/ 1917365 w 3647937"/>
                <a:gd name="connsiteY277" fmla="*/ 2199799 h 4669890"/>
                <a:gd name="connsiteX278" fmla="*/ 1914683 w 3647937"/>
                <a:gd name="connsiteY278" fmla="*/ 2209009 h 4669890"/>
                <a:gd name="connsiteX279" fmla="*/ 1931045 w 3647937"/>
                <a:gd name="connsiteY279" fmla="*/ 2305126 h 4669890"/>
                <a:gd name="connsiteX280" fmla="*/ 1940791 w 3647937"/>
                <a:gd name="connsiteY280" fmla="*/ 2317465 h 4669890"/>
                <a:gd name="connsiteX281" fmla="*/ 1995869 w 3647937"/>
                <a:gd name="connsiteY281" fmla="*/ 2375672 h 4669890"/>
                <a:gd name="connsiteX282" fmla="*/ 2014645 w 3647937"/>
                <a:gd name="connsiteY282" fmla="*/ 2376477 h 4669890"/>
                <a:gd name="connsiteX283" fmla="*/ 2077591 w 3647937"/>
                <a:gd name="connsiteY283" fmla="*/ 2351084 h 4669890"/>
                <a:gd name="connsiteX284" fmla="*/ 2100302 w 3647937"/>
                <a:gd name="connsiteY284" fmla="*/ 2311385 h 4669890"/>
                <a:gd name="connsiteX285" fmla="*/ 2112104 w 3647937"/>
                <a:gd name="connsiteY285" fmla="*/ 2266679 h 4669890"/>
                <a:gd name="connsiteX286" fmla="*/ 2197939 w 3647937"/>
                <a:gd name="connsiteY286" fmla="*/ 2244595 h 4669890"/>
                <a:gd name="connsiteX287" fmla="*/ 2204198 w 3647937"/>
                <a:gd name="connsiteY287" fmla="*/ 2276515 h 4669890"/>
                <a:gd name="connsiteX288" fmla="*/ 2167450 w 3647937"/>
                <a:gd name="connsiteY288" fmla="*/ 2393733 h 4669890"/>
                <a:gd name="connsiteX289" fmla="*/ 2150998 w 3647937"/>
                <a:gd name="connsiteY289" fmla="*/ 2425295 h 4669890"/>
                <a:gd name="connsiteX290" fmla="*/ 2163337 w 3647937"/>
                <a:gd name="connsiteY290" fmla="*/ 2449526 h 4669890"/>
                <a:gd name="connsiteX291" fmla="*/ 2214838 w 3647937"/>
                <a:gd name="connsiteY291" fmla="*/ 2442284 h 4669890"/>
                <a:gd name="connsiteX292" fmla="*/ 2277783 w 3647937"/>
                <a:gd name="connsiteY292" fmla="*/ 2455695 h 4669890"/>
                <a:gd name="connsiteX293" fmla="*/ 2284132 w 3647937"/>
                <a:gd name="connsiteY293" fmla="*/ 2494053 h 4669890"/>
                <a:gd name="connsiteX294" fmla="*/ 2267233 w 3647937"/>
                <a:gd name="connsiteY294" fmla="*/ 2600453 h 4669890"/>
                <a:gd name="connsiteX295" fmla="*/ 2307826 w 3647937"/>
                <a:gd name="connsiteY295" fmla="*/ 2661789 h 4669890"/>
                <a:gd name="connsiteX296" fmla="*/ 2368894 w 3647937"/>
                <a:gd name="connsiteY296" fmla="*/ 2653653 h 4669890"/>
                <a:gd name="connsiteX297" fmla="*/ 2387492 w 3647937"/>
                <a:gd name="connsiteY297" fmla="*/ 2630942 h 4669890"/>
                <a:gd name="connsiteX298" fmla="*/ 2440066 w 3647937"/>
                <a:gd name="connsiteY298" fmla="*/ 2651328 h 4669890"/>
                <a:gd name="connsiteX299" fmla="*/ 2460094 w 3647937"/>
                <a:gd name="connsiteY299" fmla="*/ 2673144 h 4669890"/>
                <a:gd name="connsiteX300" fmla="*/ 2532159 w 3647937"/>
                <a:gd name="connsiteY300" fmla="*/ 2578368 h 4669890"/>
                <a:gd name="connsiteX301" fmla="*/ 2608338 w 3647937"/>
                <a:gd name="connsiteY301" fmla="*/ 2527046 h 4669890"/>
                <a:gd name="connsiteX302" fmla="*/ 2623270 w 3647937"/>
                <a:gd name="connsiteY302" fmla="*/ 2526331 h 4669890"/>
                <a:gd name="connsiteX303" fmla="*/ 2620319 w 3647937"/>
                <a:gd name="connsiteY303" fmla="*/ 2542693 h 4669890"/>
                <a:gd name="connsiteX304" fmla="*/ 2603152 w 3647937"/>
                <a:gd name="connsiteY304" fmla="*/ 2612345 h 4669890"/>
                <a:gd name="connsiteX305" fmla="*/ 2622912 w 3647937"/>
                <a:gd name="connsiteY305" fmla="*/ 2629601 h 4669890"/>
                <a:gd name="connsiteX306" fmla="*/ 2629528 w 3647937"/>
                <a:gd name="connsiteY306" fmla="*/ 2609483 h 4669890"/>
                <a:gd name="connsiteX307" fmla="*/ 2648841 w 3647937"/>
                <a:gd name="connsiteY307" fmla="*/ 2558340 h 4669890"/>
                <a:gd name="connsiteX308" fmla="*/ 2662253 w 3647937"/>
                <a:gd name="connsiteY308" fmla="*/ 2529639 h 4669890"/>
                <a:gd name="connsiteX309" fmla="*/ 2707943 w 3647937"/>
                <a:gd name="connsiteY309" fmla="*/ 2575328 h 4669890"/>
                <a:gd name="connsiteX310" fmla="*/ 2717510 w 3647937"/>
                <a:gd name="connsiteY310" fmla="*/ 2582034 h 4669890"/>
                <a:gd name="connsiteX311" fmla="*/ 2833834 w 3647937"/>
                <a:gd name="connsiteY311" fmla="*/ 2573093 h 4669890"/>
                <a:gd name="connsiteX312" fmla="*/ 2852789 w 3647937"/>
                <a:gd name="connsiteY312" fmla="*/ 2570410 h 4669890"/>
                <a:gd name="connsiteX313" fmla="*/ 2871297 w 3647937"/>
                <a:gd name="connsiteY313" fmla="*/ 2567460 h 4669890"/>
                <a:gd name="connsiteX314" fmla="*/ 2884799 w 3647937"/>
                <a:gd name="connsiteY314" fmla="*/ 2572467 h 4669890"/>
                <a:gd name="connsiteX315" fmla="*/ 2872638 w 3647937"/>
                <a:gd name="connsiteY315" fmla="*/ 2583822 h 4669890"/>
                <a:gd name="connsiteX316" fmla="*/ 2954987 w 3647937"/>
                <a:gd name="connsiteY316" fmla="*/ 2651060 h 4669890"/>
                <a:gd name="connsiteX317" fmla="*/ 2976714 w 3647937"/>
                <a:gd name="connsiteY317" fmla="*/ 2681281 h 4669890"/>
                <a:gd name="connsiteX318" fmla="*/ 3002822 w 3647937"/>
                <a:gd name="connsiteY318" fmla="*/ 2696302 h 4669890"/>
                <a:gd name="connsiteX319" fmla="*/ 3015250 w 3647937"/>
                <a:gd name="connsiteY319" fmla="*/ 2701935 h 4669890"/>
                <a:gd name="connsiteX320" fmla="*/ 3042342 w 3647937"/>
                <a:gd name="connsiteY320" fmla="*/ 2720622 h 4669890"/>
                <a:gd name="connsiteX321" fmla="*/ 3178158 w 3647937"/>
                <a:gd name="connsiteY321" fmla="*/ 2767295 h 4669890"/>
                <a:gd name="connsiteX322" fmla="*/ 3198812 w 3647937"/>
                <a:gd name="connsiteY322" fmla="*/ 2876824 h 4669890"/>
                <a:gd name="connsiteX323" fmla="*/ 3182539 w 3647937"/>
                <a:gd name="connsiteY323" fmla="*/ 2908297 h 4669890"/>
                <a:gd name="connsiteX324" fmla="*/ 3212313 w 3647937"/>
                <a:gd name="connsiteY324" fmla="*/ 2897120 h 4669890"/>
                <a:gd name="connsiteX325" fmla="*/ 3250581 w 3647937"/>
                <a:gd name="connsiteY325" fmla="*/ 2898193 h 4669890"/>
                <a:gd name="connsiteX326" fmla="*/ 3249419 w 3647937"/>
                <a:gd name="connsiteY326" fmla="*/ 2928951 h 4669890"/>
                <a:gd name="connsiteX327" fmla="*/ 3248703 w 3647937"/>
                <a:gd name="connsiteY327" fmla="*/ 2931633 h 4669890"/>
                <a:gd name="connsiteX328" fmla="*/ 3265960 w 3647937"/>
                <a:gd name="connsiteY328" fmla="*/ 2918132 h 4669890"/>
                <a:gd name="connsiteX329" fmla="*/ 3369856 w 3647937"/>
                <a:gd name="connsiteY329" fmla="*/ 2963285 h 4669890"/>
                <a:gd name="connsiteX330" fmla="*/ 3428063 w 3647937"/>
                <a:gd name="connsiteY330" fmla="*/ 2968739 h 4669890"/>
                <a:gd name="connsiteX331" fmla="*/ 3519531 w 3647937"/>
                <a:gd name="connsiteY331" fmla="*/ 2977322 h 4669890"/>
                <a:gd name="connsiteX332" fmla="*/ 3545460 w 3647937"/>
                <a:gd name="connsiteY332" fmla="*/ 2997529 h 4669890"/>
                <a:gd name="connsiteX333" fmla="*/ 3604472 w 3647937"/>
                <a:gd name="connsiteY333" fmla="*/ 3023816 h 4669890"/>
                <a:gd name="connsiteX334" fmla="*/ 3638270 w 3647937"/>
                <a:gd name="connsiteY334" fmla="*/ 3049657 h 4669890"/>
                <a:gd name="connsiteX335" fmla="*/ 3644886 w 3647937"/>
                <a:gd name="connsiteY335" fmla="*/ 3074602 h 4669890"/>
                <a:gd name="connsiteX336" fmla="*/ 3644886 w 3647937"/>
                <a:gd name="connsiteY336" fmla="*/ 3133346 h 4669890"/>
                <a:gd name="connsiteX337" fmla="*/ 3545550 w 3647937"/>
                <a:gd name="connsiteY337" fmla="*/ 3248061 h 4669890"/>
                <a:gd name="connsiteX338" fmla="*/ 3525879 w 3647937"/>
                <a:gd name="connsiteY338" fmla="*/ 3268894 h 4669890"/>
                <a:gd name="connsiteX339" fmla="*/ 3519710 w 3647937"/>
                <a:gd name="connsiteY339" fmla="*/ 3284541 h 4669890"/>
                <a:gd name="connsiteX340" fmla="*/ 3514077 w 3647937"/>
                <a:gd name="connsiteY340" fmla="*/ 3400060 h 4669890"/>
                <a:gd name="connsiteX341" fmla="*/ 3499682 w 3647937"/>
                <a:gd name="connsiteY341" fmla="*/ 3451293 h 4669890"/>
                <a:gd name="connsiteX342" fmla="*/ 3492797 w 3647937"/>
                <a:gd name="connsiteY342" fmla="*/ 3486432 h 4669890"/>
                <a:gd name="connsiteX343" fmla="*/ 3450863 w 3647937"/>
                <a:gd name="connsiteY343" fmla="*/ 3548394 h 4669890"/>
                <a:gd name="connsiteX344" fmla="*/ 3435037 w 3647937"/>
                <a:gd name="connsiteY344" fmla="*/ 3579867 h 4669890"/>
                <a:gd name="connsiteX345" fmla="*/ 3410896 w 3647937"/>
                <a:gd name="connsiteY345" fmla="*/ 3594888 h 4669890"/>
                <a:gd name="connsiteX346" fmla="*/ 3366727 w 3647937"/>
                <a:gd name="connsiteY346" fmla="*/ 3597213 h 4669890"/>
                <a:gd name="connsiteX347" fmla="*/ 3252101 w 3647937"/>
                <a:gd name="connsiteY347" fmla="*/ 3672855 h 4669890"/>
                <a:gd name="connsiteX348" fmla="*/ 3239315 w 3647937"/>
                <a:gd name="connsiteY348" fmla="*/ 3702629 h 4669890"/>
                <a:gd name="connsiteX349" fmla="*/ 3239137 w 3647937"/>
                <a:gd name="connsiteY349" fmla="*/ 3741702 h 4669890"/>
                <a:gd name="connsiteX350" fmla="*/ 3180125 w 3647937"/>
                <a:gd name="connsiteY350" fmla="*/ 3852036 h 4669890"/>
                <a:gd name="connsiteX351" fmla="*/ 3176459 w 3647937"/>
                <a:gd name="connsiteY351" fmla="*/ 3837640 h 4669890"/>
                <a:gd name="connsiteX352" fmla="*/ 3171988 w 3647937"/>
                <a:gd name="connsiteY352" fmla="*/ 3850873 h 4669890"/>
                <a:gd name="connsiteX353" fmla="*/ 3160365 w 3647937"/>
                <a:gd name="connsiteY353" fmla="*/ 3866073 h 4669890"/>
                <a:gd name="connsiteX354" fmla="*/ 3130770 w 3647937"/>
                <a:gd name="connsiteY354" fmla="*/ 3924906 h 4669890"/>
                <a:gd name="connsiteX355" fmla="*/ 3042520 w 3647937"/>
                <a:gd name="connsiteY355" fmla="*/ 3990176 h 4669890"/>
                <a:gd name="connsiteX356" fmla="*/ 2999335 w 3647937"/>
                <a:gd name="connsiteY356" fmla="*/ 3997687 h 4669890"/>
                <a:gd name="connsiteX357" fmla="*/ 2987890 w 3647937"/>
                <a:gd name="connsiteY357" fmla="*/ 3995005 h 4669890"/>
                <a:gd name="connsiteX358" fmla="*/ 2985029 w 3647937"/>
                <a:gd name="connsiteY358" fmla="*/ 3995542 h 4669890"/>
                <a:gd name="connsiteX359" fmla="*/ 2986638 w 3647937"/>
                <a:gd name="connsiteY359" fmla="*/ 3997866 h 4669890"/>
                <a:gd name="connsiteX360" fmla="*/ 3017396 w 3647937"/>
                <a:gd name="connsiteY360" fmla="*/ 4043734 h 4669890"/>
                <a:gd name="connsiteX361" fmla="*/ 3011495 w 3647937"/>
                <a:gd name="connsiteY361" fmla="*/ 4079678 h 4669890"/>
                <a:gd name="connsiteX362" fmla="*/ 2909297 w 3647937"/>
                <a:gd name="connsiteY362" fmla="*/ 4141998 h 4669890"/>
                <a:gd name="connsiteX363" fmla="*/ 2867542 w 3647937"/>
                <a:gd name="connsiteY363" fmla="*/ 4184826 h 4669890"/>
                <a:gd name="connsiteX364" fmla="*/ 2820422 w 3647937"/>
                <a:gd name="connsiteY364" fmla="*/ 4221127 h 4669890"/>
                <a:gd name="connsiteX365" fmla="*/ 2793688 w 3647937"/>
                <a:gd name="connsiteY365" fmla="*/ 4228101 h 4669890"/>
                <a:gd name="connsiteX366" fmla="*/ 2810140 w 3647937"/>
                <a:gd name="connsiteY366" fmla="*/ 4248129 h 4669890"/>
                <a:gd name="connsiteX367" fmla="*/ 2809425 w 3647937"/>
                <a:gd name="connsiteY367" fmla="*/ 4275131 h 4669890"/>
                <a:gd name="connsiteX368" fmla="*/ 2777773 w 3647937"/>
                <a:gd name="connsiteY368" fmla="*/ 4333517 h 4669890"/>
                <a:gd name="connsiteX369" fmla="*/ 2753811 w 3647937"/>
                <a:gd name="connsiteY369" fmla="*/ 4367047 h 4669890"/>
                <a:gd name="connsiteX370" fmla="*/ 2753185 w 3647937"/>
                <a:gd name="connsiteY370" fmla="*/ 4407818 h 4669890"/>
                <a:gd name="connsiteX371" fmla="*/ 2767133 w 3647937"/>
                <a:gd name="connsiteY371" fmla="*/ 4428830 h 4669890"/>
                <a:gd name="connsiteX372" fmla="*/ 2766865 w 3647937"/>
                <a:gd name="connsiteY372" fmla="*/ 4434195 h 4669890"/>
                <a:gd name="connsiteX373" fmla="*/ 2742902 w 3647937"/>
                <a:gd name="connsiteY373" fmla="*/ 4467366 h 4669890"/>
                <a:gd name="connsiteX374" fmla="*/ 2716794 w 3647937"/>
                <a:gd name="connsiteY374" fmla="*/ 4507154 h 4669890"/>
                <a:gd name="connsiteX375" fmla="*/ 2703293 w 3647937"/>
                <a:gd name="connsiteY375" fmla="*/ 4528255 h 4669890"/>
                <a:gd name="connsiteX376" fmla="*/ 2680404 w 3647937"/>
                <a:gd name="connsiteY376" fmla="*/ 4591201 h 4669890"/>
                <a:gd name="connsiteX377" fmla="*/ 2671910 w 3647937"/>
                <a:gd name="connsiteY377" fmla="*/ 4607563 h 4669890"/>
                <a:gd name="connsiteX378" fmla="*/ 2647768 w 3647937"/>
                <a:gd name="connsiteY378" fmla="*/ 4620975 h 4669890"/>
                <a:gd name="connsiteX379" fmla="*/ 2633642 w 3647937"/>
                <a:gd name="connsiteY379" fmla="*/ 4649945 h 4669890"/>
                <a:gd name="connsiteX380" fmla="*/ 2604493 w 3647937"/>
                <a:gd name="connsiteY380" fmla="*/ 4669168 h 4669890"/>
                <a:gd name="connsiteX381" fmla="*/ 2593764 w 3647937"/>
                <a:gd name="connsiteY381" fmla="*/ 4655667 h 4669890"/>
                <a:gd name="connsiteX382" fmla="*/ 2569802 w 3647937"/>
                <a:gd name="connsiteY382" fmla="*/ 4645116 h 4669890"/>
                <a:gd name="connsiteX383" fmla="*/ 2526705 w 3647937"/>
                <a:gd name="connsiteY383" fmla="*/ 4599606 h 4669890"/>
                <a:gd name="connsiteX384" fmla="*/ 2513562 w 3647937"/>
                <a:gd name="connsiteY384" fmla="*/ 4596119 h 4669890"/>
                <a:gd name="connsiteX385" fmla="*/ 2511774 w 3647937"/>
                <a:gd name="connsiteY385" fmla="*/ 4568849 h 4669890"/>
                <a:gd name="connsiteX386" fmla="*/ 2516781 w 3647937"/>
                <a:gd name="connsiteY386" fmla="*/ 4561517 h 4669890"/>
                <a:gd name="connsiteX387" fmla="*/ 2514724 w 3647937"/>
                <a:gd name="connsiteY387" fmla="*/ 4524769 h 4669890"/>
                <a:gd name="connsiteX388" fmla="*/ 2510879 w 3647937"/>
                <a:gd name="connsiteY388" fmla="*/ 4482030 h 4669890"/>
                <a:gd name="connsiteX389" fmla="*/ 2513919 w 3647937"/>
                <a:gd name="connsiteY389" fmla="*/ 4463521 h 4669890"/>
                <a:gd name="connsiteX390" fmla="*/ 2514814 w 3647937"/>
                <a:gd name="connsiteY390" fmla="*/ 4456190 h 4669890"/>
                <a:gd name="connsiteX391" fmla="*/ 2500865 w 3647937"/>
                <a:gd name="connsiteY391" fmla="*/ 4449573 h 4669890"/>
                <a:gd name="connsiteX392" fmla="*/ 2474042 w 3647937"/>
                <a:gd name="connsiteY392" fmla="*/ 4433926 h 4669890"/>
                <a:gd name="connsiteX393" fmla="*/ 2497110 w 3647937"/>
                <a:gd name="connsiteY393" fmla="*/ 4396463 h 4669890"/>
                <a:gd name="connsiteX394" fmla="*/ 2522324 w 3647937"/>
                <a:gd name="connsiteY394" fmla="*/ 4400844 h 4669890"/>
                <a:gd name="connsiteX395" fmla="*/ 2535736 w 3647937"/>
                <a:gd name="connsiteY395" fmla="*/ 4403527 h 4669890"/>
                <a:gd name="connsiteX396" fmla="*/ 2542084 w 3647937"/>
                <a:gd name="connsiteY396" fmla="*/ 4388505 h 4669890"/>
                <a:gd name="connsiteX397" fmla="*/ 2546823 w 3647937"/>
                <a:gd name="connsiteY397" fmla="*/ 4360162 h 4669890"/>
                <a:gd name="connsiteX398" fmla="*/ 2546376 w 3647937"/>
                <a:gd name="connsiteY398" fmla="*/ 4310538 h 4669890"/>
                <a:gd name="connsiteX399" fmla="*/ 2552366 w 3647937"/>
                <a:gd name="connsiteY399" fmla="*/ 4292120 h 4669890"/>
                <a:gd name="connsiteX400" fmla="*/ 2535646 w 3647937"/>
                <a:gd name="connsiteY400" fmla="*/ 4269409 h 4669890"/>
                <a:gd name="connsiteX401" fmla="*/ 2520983 w 3647937"/>
                <a:gd name="connsiteY401" fmla="*/ 4246251 h 4669890"/>
                <a:gd name="connsiteX402" fmla="*/ 2524112 w 3647937"/>
                <a:gd name="connsiteY402" fmla="*/ 4212096 h 4669890"/>
                <a:gd name="connsiteX403" fmla="*/ 2527689 w 3647937"/>
                <a:gd name="connsiteY403" fmla="*/ 4124204 h 4669890"/>
                <a:gd name="connsiteX404" fmla="*/ 2545124 w 3647937"/>
                <a:gd name="connsiteY404" fmla="*/ 4095325 h 4669890"/>
                <a:gd name="connsiteX405" fmla="*/ 2547359 w 3647937"/>
                <a:gd name="connsiteY405" fmla="*/ 4086473 h 4669890"/>
                <a:gd name="connsiteX406" fmla="*/ 2558536 w 3647937"/>
                <a:gd name="connsiteY406" fmla="*/ 4050351 h 4669890"/>
                <a:gd name="connsiteX407" fmla="*/ 2576865 w 3647937"/>
                <a:gd name="connsiteY407" fmla="*/ 3871617 h 4669890"/>
                <a:gd name="connsiteX408" fmla="*/ 2604672 w 3647937"/>
                <a:gd name="connsiteY408" fmla="*/ 3690469 h 4669890"/>
                <a:gd name="connsiteX409" fmla="*/ 2610752 w 3647937"/>
                <a:gd name="connsiteY409" fmla="*/ 3682958 h 4669890"/>
                <a:gd name="connsiteX410" fmla="*/ 2616922 w 3647937"/>
                <a:gd name="connsiteY410" fmla="*/ 3637090 h 4669890"/>
                <a:gd name="connsiteX411" fmla="*/ 2612004 w 3647937"/>
                <a:gd name="connsiteY411" fmla="*/ 3571284 h 4669890"/>
                <a:gd name="connsiteX412" fmla="*/ 2611110 w 3647937"/>
                <a:gd name="connsiteY412" fmla="*/ 3532479 h 4669890"/>
                <a:gd name="connsiteX413" fmla="*/ 2515171 w 3647937"/>
                <a:gd name="connsiteY413" fmla="*/ 3472215 h 4669890"/>
                <a:gd name="connsiteX414" fmla="*/ 2441675 w 3647937"/>
                <a:gd name="connsiteY414" fmla="*/ 3403011 h 4669890"/>
                <a:gd name="connsiteX415" fmla="*/ 2434075 w 3647937"/>
                <a:gd name="connsiteY415" fmla="*/ 3371717 h 4669890"/>
                <a:gd name="connsiteX416" fmla="*/ 2394376 w 3647937"/>
                <a:gd name="connsiteY416" fmla="*/ 3308503 h 4669890"/>
                <a:gd name="connsiteX417" fmla="*/ 2385703 w 3647937"/>
                <a:gd name="connsiteY417" fmla="*/ 3294912 h 4669890"/>
                <a:gd name="connsiteX418" fmla="*/ 2318019 w 3647937"/>
                <a:gd name="connsiteY418" fmla="*/ 3160884 h 4669890"/>
                <a:gd name="connsiteX419" fmla="*/ 2311402 w 3647937"/>
                <a:gd name="connsiteY419" fmla="*/ 3128339 h 4669890"/>
                <a:gd name="connsiteX420" fmla="*/ 2309435 w 3647937"/>
                <a:gd name="connsiteY420" fmla="*/ 3118950 h 4669890"/>
                <a:gd name="connsiteX421" fmla="*/ 2308988 w 3647937"/>
                <a:gd name="connsiteY421" fmla="*/ 3095256 h 4669890"/>
                <a:gd name="connsiteX422" fmla="*/ 2310776 w 3647937"/>
                <a:gd name="connsiteY422" fmla="*/ 3085689 h 4669890"/>
                <a:gd name="connsiteX423" fmla="*/ 2319539 w 3647937"/>
                <a:gd name="connsiteY423" fmla="*/ 3019078 h 4669890"/>
                <a:gd name="connsiteX424" fmla="*/ 2341623 w 3647937"/>
                <a:gd name="connsiteY424" fmla="*/ 2948353 h 4669890"/>
                <a:gd name="connsiteX425" fmla="*/ 2352263 w 3647937"/>
                <a:gd name="connsiteY425" fmla="*/ 2933600 h 4669890"/>
                <a:gd name="connsiteX426" fmla="*/ 2400903 w 3647937"/>
                <a:gd name="connsiteY426" fmla="*/ 2872890 h 4669890"/>
                <a:gd name="connsiteX427" fmla="*/ 2406447 w 3647937"/>
                <a:gd name="connsiteY427" fmla="*/ 2865826 h 4669890"/>
                <a:gd name="connsiteX428" fmla="*/ 2428442 w 3647937"/>
                <a:gd name="connsiteY428" fmla="*/ 2802433 h 4669890"/>
                <a:gd name="connsiteX429" fmla="*/ 2430498 w 3647937"/>
                <a:gd name="connsiteY429" fmla="*/ 2793582 h 4669890"/>
                <a:gd name="connsiteX430" fmla="*/ 2415477 w 3647937"/>
                <a:gd name="connsiteY430" fmla="*/ 2689685 h 4669890"/>
                <a:gd name="connsiteX431" fmla="*/ 2400099 w 3647937"/>
                <a:gd name="connsiteY431" fmla="*/ 2670909 h 4669890"/>
                <a:gd name="connsiteX432" fmla="*/ 2376136 w 3647937"/>
                <a:gd name="connsiteY432" fmla="*/ 2685036 h 4669890"/>
                <a:gd name="connsiteX433" fmla="*/ 2339835 w 3647937"/>
                <a:gd name="connsiteY433" fmla="*/ 2719459 h 4669890"/>
                <a:gd name="connsiteX434" fmla="*/ 2254089 w 3647937"/>
                <a:gd name="connsiteY434" fmla="*/ 2690937 h 4669890"/>
                <a:gd name="connsiteX435" fmla="*/ 2199370 w 3647937"/>
                <a:gd name="connsiteY435" fmla="*/ 2648288 h 4669890"/>
                <a:gd name="connsiteX436" fmla="*/ 2197849 w 3647937"/>
                <a:gd name="connsiteY436" fmla="*/ 2629601 h 4669890"/>
                <a:gd name="connsiteX437" fmla="*/ 2194452 w 3647937"/>
                <a:gd name="connsiteY437" fmla="*/ 2596072 h 4669890"/>
                <a:gd name="connsiteX438" fmla="*/ 2186673 w 3647937"/>
                <a:gd name="connsiteY438" fmla="*/ 2583554 h 4669890"/>
                <a:gd name="connsiteX439" fmla="*/ 2159850 w 3647937"/>
                <a:gd name="connsiteY439" fmla="*/ 2560665 h 4669890"/>
                <a:gd name="connsiteX440" fmla="*/ 2128734 w 3647937"/>
                <a:gd name="connsiteY440" fmla="*/ 2546180 h 4669890"/>
                <a:gd name="connsiteX441" fmla="*/ 2098066 w 3647937"/>
                <a:gd name="connsiteY441" fmla="*/ 2535719 h 4669890"/>
                <a:gd name="connsiteX442" fmla="*/ 2058367 w 3647937"/>
                <a:gd name="connsiteY442" fmla="*/ 2528208 h 4669890"/>
                <a:gd name="connsiteX443" fmla="*/ 2016344 w 3647937"/>
                <a:gd name="connsiteY443" fmla="*/ 2501653 h 4669890"/>
                <a:gd name="connsiteX444" fmla="*/ 1936857 w 3647937"/>
                <a:gd name="connsiteY444" fmla="*/ 2464994 h 4669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Lst>
              <a:rect l="l" t="t" r="r" b="b"/>
              <a:pathLst>
                <a:path w="3647937" h="4669890">
                  <a:moveTo>
                    <a:pt x="1937036" y="2465173"/>
                  </a:moveTo>
                  <a:cubicBezTo>
                    <a:pt x="1917723" y="2477154"/>
                    <a:pt x="1898321" y="2475992"/>
                    <a:pt x="1878918" y="2465531"/>
                  </a:cubicBezTo>
                  <a:cubicBezTo>
                    <a:pt x="1868010" y="2465262"/>
                    <a:pt x="1860768" y="2457484"/>
                    <a:pt x="1852184" y="2452477"/>
                  </a:cubicBezTo>
                  <a:cubicBezTo>
                    <a:pt x="1841634" y="2446039"/>
                    <a:pt x="1829563" y="2449258"/>
                    <a:pt x="1818297" y="2447291"/>
                  </a:cubicBezTo>
                  <a:cubicBezTo>
                    <a:pt x="1799521" y="2444340"/>
                    <a:pt x="1789417" y="2430481"/>
                    <a:pt x="1779314" y="2416533"/>
                  </a:cubicBezTo>
                  <a:cubicBezTo>
                    <a:pt x="1771893" y="2406877"/>
                    <a:pt x="1760538" y="2409917"/>
                    <a:pt x="1750792" y="2407771"/>
                  </a:cubicBezTo>
                  <a:cubicBezTo>
                    <a:pt x="1690975" y="2383183"/>
                    <a:pt x="1670858" y="2352961"/>
                    <a:pt x="1671126" y="2287602"/>
                  </a:cubicBezTo>
                  <a:cubicBezTo>
                    <a:pt x="1671126" y="2274190"/>
                    <a:pt x="1665225" y="2262477"/>
                    <a:pt x="1662453" y="2249870"/>
                  </a:cubicBezTo>
                  <a:cubicBezTo>
                    <a:pt x="1660575" y="2239230"/>
                    <a:pt x="1657178" y="2229395"/>
                    <a:pt x="1649131" y="2221616"/>
                  </a:cubicBezTo>
                  <a:cubicBezTo>
                    <a:pt x="1635987" y="2205701"/>
                    <a:pt x="1620519" y="2192021"/>
                    <a:pt x="1606392" y="2177089"/>
                  </a:cubicBezTo>
                  <a:cubicBezTo>
                    <a:pt x="1591550" y="2161353"/>
                    <a:pt x="1574025" y="2148656"/>
                    <a:pt x="1576976" y="2122727"/>
                  </a:cubicBezTo>
                  <a:cubicBezTo>
                    <a:pt x="1578227" y="2111372"/>
                    <a:pt x="1565799" y="2105202"/>
                    <a:pt x="1559004" y="2096887"/>
                  </a:cubicBezTo>
                  <a:cubicBezTo>
                    <a:pt x="1533700" y="2065861"/>
                    <a:pt x="1509380" y="2034120"/>
                    <a:pt x="1498204" y="1994600"/>
                  </a:cubicBezTo>
                  <a:cubicBezTo>
                    <a:pt x="1497221" y="1985391"/>
                    <a:pt x="1497578" y="1976181"/>
                    <a:pt x="1497310" y="1967061"/>
                  </a:cubicBezTo>
                  <a:cubicBezTo>
                    <a:pt x="1498025" y="1945513"/>
                    <a:pt x="1477103" y="1942383"/>
                    <a:pt x="1466374" y="1930850"/>
                  </a:cubicBezTo>
                  <a:cubicBezTo>
                    <a:pt x="1455197" y="1929240"/>
                    <a:pt x="1461813" y="1938986"/>
                    <a:pt x="1459042" y="1942562"/>
                  </a:cubicBezTo>
                  <a:cubicBezTo>
                    <a:pt x="1458952" y="1957315"/>
                    <a:pt x="1466910" y="1969744"/>
                    <a:pt x="1470665" y="1983245"/>
                  </a:cubicBezTo>
                  <a:cubicBezTo>
                    <a:pt x="1472632" y="1986910"/>
                    <a:pt x="1474778" y="1990576"/>
                    <a:pt x="1476924" y="1994153"/>
                  </a:cubicBezTo>
                  <a:cubicBezTo>
                    <a:pt x="1479875" y="1998981"/>
                    <a:pt x="1482736" y="2003720"/>
                    <a:pt x="1485865" y="2008459"/>
                  </a:cubicBezTo>
                  <a:cubicBezTo>
                    <a:pt x="1491588" y="2017132"/>
                    <a:pt x="1494538" y="2027056"/>
                    <a:pt x="1499188" y="2036266"/>
                  </a:cubicBezTo>
                  <a:cubicBezTo>
                    <a:pt x="1507771" y="2083296"/>
                    <a:pt x="1542105" y="2120581"/>
                    <a:pt x="1548185" y="2168774"/>
                  </a:cubicBezTo>
                  <a:cubicBezTo>
                    <a:pt x="1550867" y="2189696"/>
                    <a:pt x="1579747" y="2191574"/>
                    <a:pt x="1583860" y="2212675"/>
                  </a:cubicBezTo>
                  <a:cubicBezTo>
                    <a:pt x="1586006" y="2224835"/>
                    <a:pt x="1584754" y="2235922"/>
                    <a:pt x="1574919" y="2244684"/>
                  </a:cubicBezTo>
                  <a:cubicBezTo>
                    <a:pt x="1549884" y="2244147"/>
                    <a:pt x="1494806" y="2200783"/>
                    <a:pt x="1495522" y="2177178"/>
                  </a:cubicBezTo>
                  <a:cubicBezTo>
                    <a:pt x="1496505" y="2144007"/>
                    <a:pt x="1480054" y="2125498"/>
                    <a:pt x="1454124" y="2111014"/>
                  </a:cubicBezTo>
                  <a:cubicBezTo>
                    <a:pt x="1448491" y="2107795"/>
                    <a:pt x="1444289" y="2102788"/>
                    <a:pt x="1440891" y="2097155"/>
                  </a:cubicBezTo>
                  <a:cubicBezTo>
                    <a:pt x="1430698" y="2082134"/>
                    <a:pt x="1441517" y="2071673"/>
                    <a:pt x="1448849" y="2060407"/>
                  </a:cubicBezTo>
                  <a:cubicBezTo>
                    <a:pt x="1446524" y="2037160"/>
                    <a:pt x="1431235" y="2020708"/>
                    <a:pt x="1416661" y="2005597"/>
                  </a:cubicBezTo>
                  <a:cubicBezTo>
                    <a:pt x="1389211" y="1977165"/>
                    <a:pt x="1377230" y="1944619"/>
                    <a:pt x="1379555" y="1905904"/>
                  </a:cubicBezTo>
                  <a:cubicBezTo>
                    <a:pt x="1379555" y="1896694"/>
                    <a:pt x="1379555" y="1887574"/>
                    <a:pt x="1374101" y="1879438"/>
                  </a:cubicBezTo>
                  <a:cubicBezTo>
                    <a:pt x="1366322" y="1866115"/>
                    <a:pt x="1357560" y="1853598"/>
                    <a:pt x="1342807" y="1847339"/>
                  </a:cubicBezTo>
                  <a:cubicBezTo>
                    <a:pt x="1292468" y="1825970"/>
                    <a:pt x="1276284" y="1780459"/>
                    <a:pt x="1262068" y="1733518"/>
                  </a:cubicBezTo>
                  <a:cubicBezTo>
                    <a:pt x="1261174" y="1723951"/>
                    <a:pt x="1262694" y="1714026"/>
                    <a:pt x="1258402" y="1704906"/>
                  </a:cubicBezTo>
                  <a:cubicBezTo>
                    <a:pt x="1210209" y="1646431"/>
                    <a:pt x="1199391" y="1581429"/>
                    <a:pt x="1223800" y="1510079"/>
                  </a:cubicBezTo>
                  <a:cubicBezTo>
                    <a:pt x="1231847" y="1492107"/>
                    <a:pt x="1227823" y="1473152"/>
                    <a:pt x="1228628" y="1454554"/>
                  </a:cubicBezTo>
                  <a:cubicBezTo>
                    <a:pt x="1227108" y="1420399"/>
                    <a:pt x="1243292" y="1392681"/>
                    <a:pt x="1260906" y="1365411"/>
                  </a:cubicBezTo>
                  <a:cubicBezTo>
                    <a:pt x="1270473" y="1354413"/>
                    <a:pt x="1269847" y="1340197"/>
                    <a:pt x="1273066" y="1327143"/>
                  </a:cubicBezTo>
                  <a:cubicBezTo>
                    <a:pt x="1273066" y="1319364"/>
                    <a:pt x="1270383" y="1311943"/>
                    <a:pt x="1269400" y="1304343"/>
                  </a:cubicBezTo>
                  <a:cubicBezTo>
                    <a:pt x="1267254" y="1288070"/>
                    <a:pt x="1269579" y="1271350"/>
                    <a:pt x="1264303" y="1255434"/>
                  </a:cubicBezTo>
                  <a:cubicBezTo>
                    <a:pt x="1262873" y="1245242"/>
                    <a:pt x="1262873" y="1235317"/>
                    <a:pt x="1271367" y="1227627"/>
                  </a:cubicBezTo>
                  <a:cubicBezTo>
                    <a:pt x="1286835" y="1218507"/>
                    <a:pt x="1302661" y="1223336"/>
                    <a:pt x="1318755" y="1227627"/>
                  </a:cubicBezTo>
                  <a:cubicBezTo>
                    <a:pt x="1322600" y="1208941"/>
                    <a:pt x="1308562" y="1199820"/>
                    <a:pt x="1299532" y="1188197"/>
                  </a:cubicBezTo>
                  <a:cubicBezTo>
                    <a:pt x="1293005" y="1172013"/>
                    <a:pt x="1290501" y="1152343"/>
                    <a:pt x="1267343" y="1150018"/>
                  </a:cubicBezTo>
                  <a:cubicBezTo>
                    <a:pt x="1250266" y="1126056"/>
                    <a:pt x="1218882" y="1135444"/>
                    <a:pt x="1198049" y="1120244"/>
                  </a:cubicBezTo>
                  <a:cubicBezTo>
                    <a:pt x="1191075" y="1081261"/>
                    <a:pt x="1184012" y="1042277"/>
                    <a:pt x="1165057" y="1006781"/>
                  </a:cubicBezTo>
                  <a:cubicBezTo>
                    <a:pt x="1168633" y="984696"/>
                    <a:pt x="1147353" y="981656"/>
                    <a:pt x="1136892" y="970301"/>
                  </a:cubicBezTo>
                  <a:cubicBezTo>
                    <a:pt x="1135193" y="967619"/>
                    <a:pt x="1133941" y="964758"/>
                    <a:pt x="1133047" y="961807"/>
                  </a:cubicBezTo>
                  <a:cubicBezTo>
                    <a:pt x="1129203" y="943120"/>
                    <a:pt x="1136177" y="920499"/>
                    <a:pt x="1113645" y="908518"/>
                  </a:cubicBezTo>
                  <a:cubicBezTo>
                    <a:pt x="1090040" y="890456"/>
                    <a:pt x="1092365" y="864438"/>
                    <a:pt x="1091918" y="839224"/>
                  </a:cubicBezTo>
                  <a:cubicBezTo>
                    <a:pt x="1079669" y="828673"/>
                    <a:pt x="1065720" y="819642"/>
                    <a:pt x="1061160" y="802744"/>
                  </a:cubicBezTo>
                  <a:cubicBezTo>
                    <a:pt x="1045692" y="783431"/>
                    <a:pt x="1038807" y="758932"/>
                    <a:pt x="1019942" y="741139"/>
                  </a:cubicBezTo>
                  <a:cubicBezTo>
                    <a:pt x="1006619" y="728622"/>
                    <a:pt x="998572" y="727191"/>
                    <a:pt x="988469" y="742302"/>
                  </a:cubicBezTo>
                  <a:cubicBezTo>
                    <a:pt x="969782" y="750706"/>
                    <a:pt x="954761" y="743017"/>
                    <a:pt x="942154" y="730320"/>
                  </a:cubicBezTo>
                  <a:cubicBezTo>
                    <a:pt x="930709" y="718786"/>
                    <a:pt x="917476" y="710024"/>
                    <a:pt x="904511" y="700636"/>
                  </a:cubicBezTo>
                  <a:cubicBezTo>
                    <a:pt x="896822" y="694198"/>
                    <a:pt x="891725" y="681680"/>
                    <a:pt x="877867" y="689191"/>
                  </a:cubicBezTo>
                  <a:cubicBezTo>
                    <a:pt x="820196" y="698311"/>
                    <a:pt x="764314" y="698847"/>
                    <a:pt x="715048" y="660132"/>
                  </a:cubicBezTo>
                  <a:cubicBezTo>
                    <a:pt x="698060" y="646810"/>
                    <a:pt x="680893" y="631610"/>
                    <a:pt x="657020" y="646273"/>
                  </a:cubicBezTo>
                  <a:cubicBezTo>
                    <a:pt x="648079" y="653069"/>
                    <a:pt x="645844" y="665050"/>
                    <a:pt x="637350" y="672203"/>
                  </a:cubicBezTo>
                  <a:cubicBezTo>
                    <a:pt x="608022" y="684542"/>
                    <a:pt x="592018" y="719591"/>
                    <a:pt x="555717" y="720217"/>
                  </a:cubicBezTo>
                  <a:cubicBezTo>
                    <a:pt x="545345" y="721647"/>
                    <a:pt x="535152" y="721737"/>
                    <a:pt x="525317" y="717445"/>
                  </a:cubicBezTo>
                  <a:cubicBezTo>
                    <a:pt x="508060" y="702335"/>
                    <a:pt x="527284" y="644664"/>
                    <a:pt x="515392" y="659953"/>
                  </a:cubicBezTo>
                  <a:cubicBezTo>
                    <a:pt x="504931" y="672560"/>
                    <a:pt x="497778" y="687492"/>
                    <a:pt x="486602" y="699652"/>
                  </a:cubicBezTo>
                  <a:cubicBezTo>
                    <a:pt x="473726" y="713600"/>
                    <a:pt x="446992" y="722363"/>
                    <a:pt x="473726" y="749454"/>
                  </a:cubicBezTo>
                  <a:cubicBezTo>
                    <a:pt x="482667" y="758485"/>
                    <a:pt x="468719" y="772701"/>
                    <a:pt x="457275" y="780570"/>
                  </a:cubicBezTo>
                  <a:cubicBezTo>
                    <a:pt x="391378" y="825812"/>
                    <a:pt x="321727" y="865689"/>
                    <a:pt x="262983" y="920946"/>
                  </a:cubicBezTo>
                  <a:cubicBezTo>
                    <a:pt x="250197" y="933016"/>
                    <a:pt x="232673" y="939901"/>
                    <a:pt x="216668" y="944461"/>
                  </a:cubicBezTo>
                  <a:cubicBezTo>
                    <a:pt x="160071" y="960287"/>
                    <a:pt x="109464" y="991313"/>
                    <a:pt x="52866" y="1006423"/>
                  </a:cubicBezTo>
                  <a:cubicBezTo>
                    <a:pt x="50631" y="1008390"/>
                    <a:pt x="48396" y="1010268"/>
                    <a:pt x="46160" y="1012235"/>
                  </a:cubicBezTo>
                  <a:cubicBezTo>
                    <a:pt x="40080" y="1022696"/>
                    <a:pt x="32301" y="1030833"/>
                    <a:pt x="19426" y="1031995"/>
                  </a:cubicBezTo>
                  <a:cubicBezTo>
                    <a:pt x="12363" y="1031548"/>
                    <a:pt x="6551" y="1029491"/>
                    <a:pt x="5657" y="1021176"/>
                  </a:cubicBezTo>
                  <a:cubicBezTo>
                    <a:pt x="39991" y="972447"/>
                    <a:pt x="92118" y="950183"/>
                    <a:pt x="144781" y="929798"/>
                  </a:cubicBezTo>
                  <a:cubicBezTo>
                    <a:pt x="159534" y="924075"/>
                    <a:pt x="172678" y="918532"/>
                    <a:pt x="181976" y="905478"/>
                  </a:cubicBezTo>
                  <a:cubicBezTo>
                    <a:pt x="193779" y="888936"/>
                    <a:pt x="211482" y="879995"/>
                    <a:pt x="229186" y="871412"/>
                  </a:cubicBezTo>
                  <a:cubicBezTo>
                    <a:pt x="261374" y="855854"/>
                    <a:pt x="283459" y="831892"/>
                    <a:pt x="291684" y="796396"/>
                  </a:cubicBezTo>
                  <a:cubicBezTo>
                    <a:pt x="293026" y="790494"/>
                    <a:pt x="300179" y="783699"/>
                    <a:pt x="293294" y="778781"/>
                  </a:cubicBezTo>
                  <a:cubicBezTo>
                    <a:pt x="287124" y="774311"/>
                    <a:pt x="277379" y="773864"/>
                    <a:pt x="272640" y="781285"/>
                  </a:cubicBezTo>
                  <a:cubicBezTo>
                    <a:pt x="258602" y="803280"/>
                    <a:pt x="239915" y="798184"/>
                    <a:pt x="220602" y="791925"/>
                  </a:cubicBezTo>
                  <a:cubicBezTo>
                    <a:pt x="210141" y="788527"/>
                    <a:pt x="199412" y="787365"/>
                    <a:pt x="188414" y="787186"/>
                  </a:cubicBezTo>
                  <a:cubicBezTo>
                    <a:pt x="154885" y="786739"/>
                    <a:pt x="146033" y="778334"/>
                    <a:pt x="144602" y="745520"/>
                  </a:cubicBezTo>
                  <a:cubicBezTo>
                    <a:pt x="144066" y="733807"/>
                    <a:pt x="146927" y="721558"/>
                    <a:pt x="136466" y="710292"/>
                  </a:cubicBezTo>
                  <a:cubicBezTo>
                    <a:pt x="116795" y="725313"/>
                    <a:pt x="95337" y="736669"/>
                    <a:pt x="72805" y="716909"/>
                  </a:cubicBezTo>
                  <a:cubicBezTo>
                    <a:pt x="61628" y="707073"/>
                    <a:pt x="48038" y="695360"/>
                    <a:pt x="51346" y="678819"/>
                  </a:cubicBezTo>
                  <a:cubicBezTo>
                    <a:pt x="54744" y="661563"/>
                    <a:pt x="71195" y="662099"/>
                    <a:pt x="85412" y="662189"/>
                  </a:cubicBezTo>
                  <a:cubicBezTo>
                    <a:pt x="85591" y="659864"/>
                    <a:pt x="83981" y="659328"/>
                    <a:pt x="81478" y="658433"/>
                  </a:cubicBezTo>
                  <a:cubicBezTo>
                    <a:pt x="21840" y="637601"/>
                    <a:pt x="18711" y="629464"/>
                    <a:pt x="51436" y="575728"/>
                  </a:cubicBezTo>
                  <a:cubicBezTo>
                    <a:pt x="71106" y="543450"/>
                    <a:pt x="94174" y="516448"/>
                    <a:pt x="136108" y="510904"/>
                  </a:cubicBezTo>
                  <a:cubicBezTo>
                    <a:pt x="160607" y="507686"/>
                    <a:pt x="182334" y="492486"/>
                    <a:pt x="205760" y="483813"/>
                  </a:cubicBezTo>
                  <a:cubicBezTo>
                    <a:pt x="226503" y="476123"/>
                    <a:pt x="226414" y="453055"/>
                    <a:pt x="232136" y="432133"/>
                  </a:cubicBezTo>
                  <a:cubicBezTo>
                    <a:pt x="216042" y="449032"/>
                    <a:pt x="197892" y="453502"/>
                    <a:pt x="177595" y="453144"/>
                  </a:cubicBezTo>
                  <a:cubicBezTo>
                    <a:pt x="153633" y="452697"/>
                    <a:pt x="129671" y="452340"/>
                    <a:pt x="105977" y="457526"/>
                  </a:cubicBezTo>
                  <a:cubicBezTo>
                    <a:pt x="87290" y="461549"/>
                    <a:pt x="72179" y="452608"/>
                    <a:pt x="57784" y="441968"/>
                  </a:cubicBezTo>
                  <a:cubicBezTo>
                    <a:pt x="43746" y="431596"/>
                    <a:pt x="32123" y="418542"/>
                    <a:pt x="17727" y="408528"/>
                  </a:cubicBezTo>
                  <a:cubicBezTo>
                    <a:pt x="-5967" y="391987"/>
                    <a:pt x="-6235" y="381794"/>
                    <a:pt x="18890" y="369634"/>
                  </a:cubicBezTo>
                  <a:cubicBezTo>
                    <a:pt x="39097" y="359978"/>
                    <a:pt x="54476" y="339413"/>
                    <a:pt x="79958" y="341201"/>
                  </a:cubicBezTo>
                  <a:cubicBezTo>
                    <a:pt x="84160" y="338966"/>
                    <a:pt x="88363" y="336641"/>
                    <a:pt x="92565" y="334406"/>
                  </a:cubicBezTo>
                  <a:cubicBezTo>
                    <a:pt x="108927" y="318044"/>
                    <a:pt x="131101" y="315540"/>
                    <a:pt x="151755" y="309728"/>
                  </a:cubicBezTo>
                  <a:cubicBezTo>
                    <a:pt x="164362" y="306152"/>
                    <a:pt x="172409" y="313037"/>
                    <a:pt x="176701" y="324660"/>
                  </a:cubicBezTo>
                  <a:cubicBezTo>
                    <a:pt x="191812" y="332171"/>
                    <a:pt x="206565" y="344956"/>
                    <a:pt x="215416" y="316345"/>
                  </a:cubicBezTo>
                  <a:cubicBezTo>
                    <a:pt x="219619" y="302844"/>
                    <a:pt x="232852" y="308208"/>
                    <a:pt x="226772" y="306152"/>
                  </a:cubicBezTo>
                  <a:cubicBezTo>
                    <a:pt x="194762" y="304274"/>
                    <a:pt x="164809" y="300251"/>
                    <a:pt x="146480" y="267526"/>
                  </a:cubicBezTo>
                  <a:cubicBezTo>
                    <a:pt x="139238" y="254561"/>
                    <a:pt x="121802" y="250538"/>
                    <a:pt x="107944" y="244011"/>
                  </a:cubicBezTo>
                  <a:cubicBezTo>
                    <a:pt x="79868" y="230778"/>
                    <a:pt x="78617" y="220853"/>
                    <a:pt x="101059" y="199126"/>
                  </a:cubicBezTo>
                  <a:cubicBezTo>
                    <a:pt x="110805" y="189738"/>
                    <a:pt x="121892" y="184999"/>
                    <a:pt x="135482" y="182496"/>
                  </a:cubicBezTo>
                  <a:cubicBezTo>
                    <a:pt x="174734" y="175253"/>
                    <a:pt x="207369" y="160322"/>
                    <a:pt x="233120" y="124736"/>
                  </a:cubicBezTo>
                  <a:cubicBezTo>
                    <a:pt x="255830" y="93263"/>
                    <a:pt x="293741" y="77169"/>
                    <a:pt x="335585" y="79404"/>
                  </a:cubicBezTo>
                  <a:lnTo>
                    <a:pt x="335049" y="79851"/>
                  </a:lnTo>
                  <a:cubicBezTo>
                    <a:pt x="340682" y="73592"/>
                    <a:pt x="348997" y="72788"/>
                    <a:pt x="355703" y="73861"/>
                  </a:cubicBezTo>
                  <a:cubicBezTo>
                    <a:pt x="369651" y="76185"/>
                    <a:pt x="377341" y="76454"/>
                    <a:pt x="380291" y="58124"/>
                  </a:cubicBezTo>
                  <a:cubicBezTo>
                    <a:pt x="382437" y="44981"/>
                    <a:pt x="399515" y="40599"/>
                    <a:pt x="412390" y="41762"/>
                  </a:cubicBezTo>
                  <a:cubicBezTo>
                    <a:pt x="439213" y="44265"/>
                    <a:pt x="462908" y="33983"/>
                    <a:pt x="487585" y="27188"/>
                  </a:cubicBezTo>
                  <a:cubicBezTo>
                    <a:pt x="496795" y="27188"/>
                    <a:pt x="506004" y="27098"/>
                    <a:pt x="515213" y="27009"/>
                  </a:cubicBezTo>
                  <a:cubicBezTo>
                    <a:pt x="546150" y="46143"/>
                    <a:pt x="580394" y="41672"/>
                    <a:pt x="614102" y="41315"/>
                  </a:cubicBezTo>
                  <a:cubicBezTo>
                    <a:pt x="618484" y="41315"/>
                    <a:pt x="613924" y="39527"/>
                    <a:pt x="617232" y="41762"/>
                  </a:cubicBezTo>
                  <a:cubicBezTo>
                    <a:pt x="666408" y="74039"/>
                    <a:pt x="721218" y="48468"/>
                    <a:pt x="772629" y="57051"/>
                  </a:cubicBezTo>
                  <a:cubicBezTo>
                    <a:pt x="777994" y="57945"/>
                    <a:pt x="784342" y="56247"/>
                    <a:pt x="788723" y="58750"/>
                  </a:cubicBezTo>
                  <a:cubicBezTo>
                    <a:pt x="824577" y="78868"/>
                    <a:pt x="863650" y="83607"/>
                    <a:pt x="903707" y="84948"/>
                  </a:cubicBezTo>
                  <a:cubicBezTo>
                    <a:pt x="905942" y="84679"/>
                    <a:pt x="908177" y="84411"/>
                    <a:pt x="910412" y="84143"/>
                  </a:cubicBezTo>
                  <a:cubicBezTo>
                    <a:pt x="916582" y="81371"/>
                    <a:pt x="924450" y="79136"/>
                    <a:pt x="929278" y="82802"/>
                  </a:cubicBezTo>
                  <a:cubicBezTo>
                    <a:pt x="959768" y="105691"/>
                    <a:pt x="995085" y="108910"/>
                    <a:pt x="1031386" y="111414"/>
                  </a:cubicBezTo>
                  <a:cubicBezTo>
                    <a:pt x="1051146" y="112755"/>
                    <a:pt x="1068403" y="124021"/>
                    <a:pt x="1084318" y="135823"/>
                  </a:cubicBezTo>
                  <a:cubicBezTo>
                    <a:pt x="1097998" y="145926"/>
                    <a:pt x="1113108" y="150933"/>
                    <a:pt x="1129560" y="152990"/>
                  </a:cubicBezTo>
                  <a:cubicBezTo>
                    <a:pt x="1135998" y="153795"/>
                    <a:pt x="1145118" y="155046"/>
                    <a:pt x="1146191" y="147268"/>
                  </a:cubicBezTo>
                  <a:cubicBezTo>
                    <a:pt x="1150393" y="118119"/>
                    <a:pt x="1176054" y="119192"/>
                    <a:pt x="1193937" y="116868"/>
                  </a:cubicBezTo>
                  <a:cubicBezTo>
                    <a:pt x="1236675" y="111235"/>
                    <a:pt x="1275748" y="96392"/>
                    <a:pt x="1314463" y="79136"/>
                  </a:cubicBezTo>
                  <a:cubicBezTo>
                    <a:pt x="1323494" y="75112"/>
                    <a:pt x="1334402" y="71447"/>
                    <a:pt x="1341913" y="79583"/>
                  </a:cubicBezTo>
                  <a:cubicBezTo>
                    <a:pt x="1349870" y="88166"/>
                    <a:pt x="1342807" y="95319"/>
                    <a:pt x="1335028" y="100595"/>
                  </a:cubicBezTo>
                  <a:lnTo>
                    <a:pt x="1334313" y="101936"/>
                  </a:lnTo>
                  <a:cubicBezTo>
                    <a:pt x="1340929" y="98628"/>
                    <a:pt x="1347188" y="93174"/>
                    <a:pt x="1354788" y="93978"/>
                  </a:cubicBezTo>
                  <a:cubicBezTo>
                    <a:pt x="1379197" y="96661"/>
                    <a:pt x="1394576" y="83249"/>
                    <a:pt x="1407898" y="65545"/>
                  </a:cubicBezTo>
                  <a:cubicBezTo>
                    <a:pt x="1409597" y="64204"/>
                    <a:pt x="1409687" y="62684"/>
                    <a:pt x="1408167" y="61164"/>
                  </a:cubicBezTo>
                  <a:cubicBezTo>
                    <a:pt x="1429089" y="54458"/>
                    <a:pt x="1434006" y="56515"/>
                    <a:pt x="1439818" y="75470"/>
                  </a:cubicBezTo>
                  <a:cubicBezTo>
                    <a:pt x="1442679" y="84769"/>
                    <a:pt x="1440981" y="95498"/>
                    <a:pt x="1446256" y="103992"/>
                  </a:cubicBezTo>
                  <a:cubicBezTo>
                    <a:pt x="1452515" y="114185"/>
                    <a:pt x="1459757" y="121428"/>
                    <a:pt x="1471559" y="108552"/>
                  </a:cubicBezTo>
                  <a:cubicBezTo>
                    <a:pt x="1499277" y="78421"/>
                    <a:pt x="1503479" y="79046"/>
                    <a:pt x="1524223" y="115795"/>
                  </a:cubicBezTo>
                  <a:cubicBezTo>
                    <a:pt x="1550420" y="89418"/>
                    <a:pt x="1578943" y="94604"/>
                    <a:pt x="1607733" y="110698"/>
                  </a:cubicBezTo>
                  <a:cubicBezTo>
                    <a:pt x="1632411" y="124468"/>
                    <a:pt x="1660397" y="131352"/>
                    <a:pt x="1684091" y="147625"/>
                  </a:cubicBezTo>
                  <a:cubicBezTo>
                    <a:pt x="1696161" y="155940"/>
                    <a:pt x="1711004" y="155940"/>
                    <a:pt x="1725309" y="153795"/>
                  </a:cubicBezTo>
                  <a:cubicBezTo>
                    <a:pt x="1737469" y="152006"/>
                    <a:pt x="1749003" y="152453"/>
                    <a:pt x="1760090" y="158980"/>
                  </a:cubicBezTo>
                  <a:cubicBezTo>
                    <a:pt x="1788702" y="175969"/>
                    <a:pt x="1789775" y="197606"/>
                    <a:pt x="1759107" y="226754"/>
                  </a:cubicBezTo>
                  <a:cubicBezTo>
                    <a:pt x="1794156" y="235249"/>
                    <a:pt x="1825897" y="228185"/>
                    <a:pt x="1856566" y="223089"/>
                  </a:cubicBezTo>
                  <a:cubicBezTo>
                    <a:pt x="1902255" y="215489"/>
                    <a:pt x="1926307" y="226397"/>
                    <a:pt x="1947855" y="274232"/>
                  </a:cubicBezTo>
                  <a:cubicBezTo>
                    <a:pt x="1952057" y="255008"/>
                    <a:pt x="1939092" y="236232"/>
                    <a:pt x="1954471" y="222820"/>
                  </a:cubicBezTo>
                  <a:cubicBezTo>
                    <a:pt x="1967436" y="211465"/>
                    <a:pt x="1979059" y="209856"/>
                    <a:pt x="1972622" y="211197"/>
                  </a:cubicBezTo>
                  <a:cubicBezTo>
                    <a:pt x="1965290" y="212627"/>
                    <a:pt x="1959478" y="209587"/>
                    <a:pt x="1956975" y="202613"/>
                  </a:cubicBezTo>
                  <a:cubicBezTo>
                    <a:pt x="1954382" y="195192"/>
                    <a:pt x="1959657" y="190543"/>
                    <a:pt x="1964664" y="186162"/>
                  </a:cubicBezTo>
                  <a:cubicBezTo>
                    <a:pt x="1987911" y="165865"/>
                    <a:pt x="2025464" y="169978"/>
                    <a:pt x="2046833" y="193583"/>
                  </a:cubicBezTo>
                  <a:cubicBezTo>
                    <a:pt x="2071064" y="220317"/>
                    <a:pt x="2104772" y="229884"/>
                    <a:pt x="2138480" y="234354"/>
                  </a:cubicBezTo>
                  <a:cubicBezTo>
                    <a:pt x="2153770" y="236411"/>
                    <a:pt x="2170937" y="233997"/>
                    <a:pt x="2187120" y="231761"/>
                  </a:cubicBezTo>
                  <a:cubicBezTo>
                    <a:pt x="2194452" y="230778"/>
                    <a:pt x="2204555" y="232656"/>
                    <a:pt x="2207774" y="224698"/>
                  </a:cubicBezTo>
                  <a:cubicBezTo>
                    <a:pt x="2220471" y="193136"/>
                    <a:pt x="2242019" y="201809"/>
                    <a:pt x="2264461" y="210392"/>
                  </a:cubicBezTo>
                  <a:cubicBezTo>
                    <a:pt x="2290480" y="220406"/>
                    <a:pt x="2289854" y="239630"/>
                    <a:pt x="2283238" y="261357"/>
                  </a:cubicBezTo>
                  <a:cubicBezTo>
                    <a:pt x="2282790" y="266185"/>
                    <a:pt x="2281897" y="270834"/>
                    <a:pt x="2279214" y="275037"/>
                  </a:cubicBezTo>
                  <a:cubicBezTo>
                    <a:pt x="2284489" y="275573"/>
                    <a:pt x="2283864" y="270298"/>
                    <a:pt x="2286278" y="267884"/>
                  </a:cubicBezTo>
                  <a:cubicBezTo>
                    <a:pt x="2289675" y="243653"/>
                    <a:pt x="2302997" y="226486"/>
                    <a:pt x="2321595" y="211286"/>
                  </a:cubicBezTo>
                  <a:cubicBezTo>
                    <a:pt x="2343948" y="193046"/>
                    <a:pt x="2339656" y="155225"/>
                    <a:pt x="2315247" y="139936"/>
                  </a:cubicBezTo>
                  <a:cubicBezTo>
                    <a:pt x="2283327" y="120086"/>
                    <a:pt x="2277783" y="66797"/>
                    <a:pt x="2305143" y="38722"/>
                  </a:cubicBezTo>
                  <a:cubicBezTo>
                    <a:pt x="2313459" y="30138"/>
                    <a:pt x="2323026" y="22896"/>
                    <a:pt x="2331609" y="14491"/>
                  </a:cubicBezTo>
                  <a:cubicBezTo>
                    <a:pt x="2342160" y="4030"/>
                    <a:pt x="2355929" y="-4732"/>
                    <a:pt x="2369609" y="2868"/>
                  </a:cubicBezTo>
                  <a:cubicBezTo>
                    <a:pt x="2385882" y="11898"/>
                    <a:pt x="2407698" y="19320"/>
                    <a:pt x="2408593" y="42567"/>
                  </a:cubicBezTo>
                  <a:cubicBezTo>
                    <a:pt x="2409308" y="61879"/>
                    <a:pt x="2412080" y="79046"/>
                    <a:pt x="2426296" y="93084"/>
                  </a:cubicBezTo>
                  <a:cubicBezTo>
                    <a:pt x="2428531" y="95319"/>
                    <a:pt x="2428710" y="99701"/>
                    <a:pt x="2430856" y="101578"/>
                  </a:cubicBezTo>
                  <a:cubicBezTo>
                    <a:pt x="2445609" y="114543"/>
                    <a:pt x="2405553" y="131710"/>
                    <a:pt x="2435952" y="145837"/>
                  </a:cubicBezTo>
                  <a:cubicBezTo>
                    <a:pt x="2456517" y="155404"/>
                    <a:pt x="2435416" y="178293"/>
                    <a:pt x="2443552" y="193851"/>
                  </a:cubicBezTo>
                  <a:cubicBezTo>
                    <a:pt x="2449454" y="192331"/>
                    <a:pt x="2448917" y="184105"/>
                    <a:pt x="2453030" y="179366"/>
                  </a:cubicBezTo>
                  <a:cubicBezTo>
                    <a:pt x="2461435" y="169620"/>
                    <a:pt x="2470823" y="162557"/>
                    <a:pt x="2484145" y="166759"/>
                  </a:cubicBezTo>
                  <a:cubicBezTo>
                    <a:pt x="2497915" y="171140"/>
                    <a:pt x="2504889" y="181870"/>
                    <a:pt x="2506767" y="195997"/>
                  </a:cubicBezTo>
                  <a:cubicBezTo>
                    <a:pt x="2508108" y="206100"/>
                    <a:pt x="2505604" y="215220"/>
                    <a:pt x="2501134" y="224340"/>
                  </a:cubicBezTo>
                  <a:cubicBezTo>
                    <a:pt x="2496484" y="233818"/>
                    <a:pt x="2500687" y="242223"/>
                    <a:pt x="2508912" y="246425"/>
                  </a:cubicBezTo>
                  <a:cubicBezTo>
                    <a:pt x="2517407" y="250806"/>
                    <a:pt x="2518748" y="240881"/>
                    <a:pt x="2522592" y="236411"/>
                  </a:cubicBezTo>
                  <a:cubicBezTo>
                    <a:pt x="2547359" y="208157"/>
                    <a:pt x="2577402" y="183658"/>
                    <a:pt x="2580978" y="141545"/>
                  </a:cubicBezTo>
                  <a:cubicBezTo>
                    <a:pt x="2582051" y="128581"/>
                    <a:pt x="2595910" y="123752"/>
                    <a:pt x="2609411" y="126613"/>
                  </a:cubicBezTo>
                  <a:cubicBezTo>
                    <a:pt x="2638559" y="132693"/>
                    <a:pt x="2660465" y="151112"/>
                    <a:pt x="2678705" y="172660"/>
                  </a:cubicBezTo>
                  <a:cubicBezTo>
                    <a:pt x="2688361" y="184016"/>
                    <a:pt x="2685768" y="199573"/>
                    <a:pt x="2676023" y="212091"/>
                  </a:cubicBezTo>
                  <a:cubicBezTo>
                    <a:pt x="2670121" y="219601"/>
                    <a:pt x="2660822" y="225234"/>
                    <a:pt x="2663415" y="236947"/>
                  </a:cubicBezTo>
                  <a:cubicBezTo>
                    <a:pt x="2664131" y="241507"/>
                    <a:pt x="2664578" y="245978"/>
                    <a:pt x="2664936" y="250538"/>
                  </a:cubicBezTo>
                  <a:cubicBezTo>
                    <a:pt x="2673430" y="286392"/>
                    <a:pt x="2649199" y="304632"/>
                    <a:pt x="2624700" y="320815"/>
                  </a:cubicBezTo>
                  <a:cubicBezTo>
                    <a:pt x="2609590" y="330829"/>
                    <a:pt x="2583571" y="310265"/>
                    <a:pt x="2584554" y="312053"/>
                  </a:cubicBezTo>
                  <a:cubicBezTo>
                    <a:pt x="2594479" y="330293"/>
                    <a:pt x="2585985" y="338429"/>
                    <a:pt x="2568460" y="341112"/>
                  </a:cubicBezTo>
                  <a:cubicBezTo>
                    <a:pt x="2557642" y="342811"/>
                    <a:pt x="2546644" y="342185"/>
                    <a:pt x="2536183" y="339055"/>
                  </a:cubicBezTo>
                  <a:cubicBezTo>
                    <a:pt x="2524828" y="335658"/>
                    <a:pt x="2517317" y="338161"/>
                    <a:pt x="2513472" y="350142"/>
                  </a:cubicBezTo>
                  <a:cubicBezTo>
                    <a:pt x="2506856" y="370886"/>
                    <a:pt x="2490136" y="377234"/>
                    <a:pt x="2470644" y="379380"/>
                  </a:cubicBezTo>
                  <a:cubicBezTo>
                    <a:pt x="2455355" y="380811"/>
                    <a:pt x="2457054" y="378218"/>
                    <a:pt x="2471181" y="383135"/>
                  </a:cubicBezTo>
                  <a:cubicBezTo>
                    <a:pt x="2477082" y="405309"/>
                    <a:pt x="2464475" y="442594"/>
                    <a:pt x="2444894" y="448406"/>
                  </a:cubicBezTo>
                  <a:cubicBezTo>
                    <a:pt x="2419858" y="455916"/>
                    <a:pt x="2395717" y="464947"/>
                    <a:pt x="2371666" y="474693"/>
                  </a:cubicBezTo>
                  <a:cubicBezTo>
                    <a:pt x="2366569" y="476749"/>
                    <a:pt x="2361026" y="474067"/>
                    <a:pt x="2356287" y="471116"/>
                  </a:cubicBezTo>
                  <a:cubicBezTo>
                    <a:pt x="2341892" y="461013"/>
                    <a:pt x="2335275" y="460476"/>
                    <a:pt x="2347972" y="466556"/>
                  </a:cubicBezTo>
                  <a:cubicBezTo>
                    <a:pt x="2367463" y="481577"/>
                    <a:pt x="2364513" y="495973"/>
                    <a:pt x="2345289" y="507507"/>
                  </a:cubicBezTo>
                  <a:cubicBezTo>
                    <a:pt x="2331609" y="515643"/>
                    <a:pt x="2323205" y="528071"/>
                    <a:pt x="2313280" y="539427"/>
                  </a:cubicBezTo>
                  <a:cubicBezTo>
                    <a:pt x="2282165" y="564641"/>
                    <a:pt x="2262315" y="599154"/>
                    <a:pt x="2240052" y="631342"/>
                  </a:cubicBezTo>
                  <a:cubicBezTo>
                    <a:pt x="2228607" y="647972"/>
                    <a:pt x="2232988" y="668626"/>
                    <a:pt x="2236565" y="687760"/>
                  </a:cubicBezTo>
                  <a:cubicBezTo>
                    <a:pt x="2237280" y="692052"/>
                    <a:pt x="2236297" y="698669"/>
                    <a:pt x="2239158" y="700189"/>
                  </a:cubicBezTo>
                  <a:cubicBezTo>
                    <a:pt x="2265802" y="714047"/>
                    <a:pt x="2271257" y="738814"/>
                    <a:pt x="2274654" y="765101"/>
                  </a:cubicBezTo>
                  <a:cubicBezTo>
                    <a:pt x="2276264" y="777530"/>
                    <a:pt x="2283595" y="783878"/>
                    <a:pt x="2296918" y="784146"/>
                  </a:cubicBezTo>
                  <a:cubicBezTo>
                    <a:pt x="2353158" y="785487"/>
                    <a:pt x="2393035" y="820358"/>
                    <a:pt x="2433181" y="853082"/>
                  </a:cubicBezTo>
                  <a:cubicBezTo>
                    <a:pt x="2448470" y="865511"/>
                    <a:pt x="2462418" y="872485"/>
                    <a:pt x="2482983" y="870697"/>
                  </a:cubicBezTo>
                  <a:cubicBezTo>
                    <a:pt x="2515439" y="867835"/>
                    <a:pt x="2523576" y="879548"/>
                    <a:pt x="2527152" y="912094"/>
                  </a:cubicBezTo>
                  <a:cubicBezTo>
                    <a:pt x="2530907" y="946517"/>
                    <a:pt x="2519910" y="981209"/>
                    <a:pt x="2531265" y="1015364"/>
                  </a:cubicBezTo>
                  <a:cubicBezTo>
                    <a:pt x="2535289" y="1027346"/>
                    <a:pt x="2533679" y="1046480"/>
                    <a:pt x="2550399" y="1043976"/>
                  </a:cubicBezTo>
                  <a:cubicBezTo>
                    <a:pt x="2565242" y="1041741"/>
                    <a:pt x="2583571" y="1030564"/>
                    <a:pt x="2581067" y="1011252"/>
                  </a:cubicBezTo>
                  <a:cubicBezTo>
                    <a:pt x="2576865" y="979242"/>
                    <a:pt x="2595910" y="949736"/>
                    <a:pt x="2587863" y="917638"/>
                  </a:cubicBezTo>
                  <a:cubicBezTo>
                    <a:pt x="2584018" y="902259"/>
                    <a:pt x="2596357" y="896715"/>
                    <a:pt x="2608606" y="893496"/>
                  </a:cubicBezTo>
                  <a:cubicBezTo>
                    <a:pt x="2653670" y="881426"/>
                    <a:pt x="2673698" y="849148"/>
                    <a:pt x="2679867" y="805694"/>
                  </a:cubicBezTo>
                  <a:cubicBezTo>
                    <a:pt x="2683712" y="778781"/>
                    <a:pt x="2682818" y="753925"/>
                    <a:pt x="2655905" y="736758"/>
                  </a:cubicBezTo>
                  <a:cubicBezTo>
                    <a:pt x="2638380" y="725582"/>
                    <a:pt x="2637665" y="709577"/>
                    <a:pt x="2653223" y="696076"/>
                  </a:cubicBezTo>
                  <a:cubicBezTo>
                    <a:pt x="2690865" y="663440"/>
                    <a:pt x="2695693" y="619897"/>
                    <a:pt x="2696856" y="574297"/>
                  </a:cubicBezTo>
                  <a:cubicBezTo>
                    <a:pt x="2698107" y="527803"/>
                    <a:pt x="2710625" y="519041"/>
                    <a:pt x="2755599" y="530307"/>
                  </a:cubicBezTo>
                  <a:cubicBezTo>
                    <a:pt x="2761947" y="531916"/>
                    <a:pt x="2768742" y="535045"/>
                    <a:pt x="2774733" y="533973"/>
                  </a:cubicBezTo>
                  <a:cubicBezTo>
                    <a:pt x="2822479" y="525657"/>
                    <a:pt x="2851895" y="549888"/>
                    <a:pt x="2874248" y="587888"/>
                  </a:cubicBezTo>
                  <a:cubicBezTo>
                    <a:pt x="2878987" y="591732"/>
                    <a:pt x="2884083" y="594951"/>
                    <a:pt x="2889448" y="597812"/>
                  </a:cubicBezTo>
                  <a:cubicBezTo>
                    <a:pt x="2906526" y="606128"/>
                    <a:pt x="2917970" y="614890"/>
                    <a:pt x="2907777" y="637958"/>
                  </a:cubicBezTo>
                  <a:cubicBezTo>
                    <a:pt x="2900535" y="654231"/>
                    <a:pt x="2904827" y="674170"/>
                    <a:pt x="2901697" y="692499"/>
                  </a:cubicBezTo>
                  <a:cubicBezTo>
                    <a:pt x="2898657" y="710203"/>
                    <a:pt x="2917881" y="713869"/>
                    <a:pt x="2929415" y="719949"/>
                  </a:cubicBezTo>
                  <a:cubicBezTo>
                    <a:pt x="2945420" y="728353"/>
                    <a:pt x="2961424" y="723525"/>
                    <a:pt x="2973942" y="710560"/>
                  </a:cubicBezTo>
                  <a:cubicBezTo>
                    <a:pt x="2987711" y="696344"/>
                    <a:pt x="2994685" y="677389"/>
                    <a:pt x="3006398" y="661742"/>
                  </a:cubicBezTo>
                  <a:cubicBezTo>
                    <a:pt x="3015340" y="649760"/>
                    <a:pt x="3023297" y="634471"/>
                    <a:pt x="3042699" y="642697"/>
                  </a:cubicBezTo>
                  <a:cubicBezTo>
                    <a:pt x="3059866" y="650029"/>
                    <a:pt x="3060671" y="663440"/>
                    <a:pt x="3059151" y="680518"/>
                  </a:cubicBezTo>
                  <a:cubicBezTo>
                    <a:pt x="3056737" y="707252"/>
                    <a:pt x="3071669" y="730410"/>
                    <a:pt x="3080878" y="754461"/>
                  </a:cubicBezTo>
                  <a:cubicBezTo>
                    <a:pt x="3088657" y="774847"/>
                    <a:pt x="3096436" y="794250"/>
                    <a:pt x="3093932" y="817318"/>
                  </a:cubicBezTo>
                  <a:cubicBezTo>
                    <a:pt x="3090803" y="846466"/>
                    <a:pt x="3110116" y="865511"/>
                    <a:pt x="3130770" y="882320"/>
                  </a:cubicBezTo>
                  <a:cubicBezTo>
                    <a:pt x="3136582" y="887059"/>
                    <a:pt x="3144450" y="889115"/>
                    <a:pt x="3150530" y="893675"/>
                  </a:cubicBezTo>
                  <a:cubicBezTo>
                    <a:pt x="3161617" y="901722"/>
                    <a:pt x="3178158" y="907087"/>
                    <a:pt x="3175654" y="924343"/>
                  </a:cubicBezTo>
                  <a:cubicBezTo>
                    <a:pt x="3173419" y="939901"/>
                    <a:pt x="3161438" y="936056"/>
                    <a:pt x="3161438" y="936056"/>
                  </a:cubicBezTo>
                  <a:cubicBezTo>
                    <a:pt x="3207395" y="938023"/>
                    <a:pt x="3214638" y="947680"/>
                    <a:pt x="3212760" y="990240"/>
                  </a:cubicBezTo>
                  <a:cubicBezTo>
                    <a:pt x="3209362" y="1001595"/>
                    <a:pt x="3208111" y="1013397"/>
                    <a:pt x="3206412" y="1025110"/>
                  </a:cubicBezTo>
                  <a:cubicBezTo>
                    <a:pt x="3205607" y="1028419"/>
                    <a:pt x="3204266" y="1031458"/>
                    <a:pt x="3202478" y="1034320"/>
                  </a:cubicBezTo>
                  <a:cubicBezTo>
                    <a:pt x="3191838" y="1044870"/>
                    <a:pt x="3177800" y="1050414"/>
                    <a:pt x="3165998" y="1059355"/>
                  </a:cubicBezTo>
                  <a:cubicBezTo>
                    <a:pt x="3140605" y="1070621"/>
                    <a:pt x="3115480" y="1079562"/>
                    <a:pt x="3094737" y="1101557"/>
                  </a:cubicBezTo>
                  <a:cubicBezTo>
                    <a:pt x="3070417" y="1127397"/>
                    <a:pt x="3036888" y="1119350"/>
                    <a:pt x="3006130" y="1108621"/>
                  </a:cubicBezTo>
                  <a:cubicBezTo>
                    <a:pt x="2989768" y="1107369"/>
                    <a:pt x="2973316" y="1108174"/>
                    <a:pt x="2956954" y="1107905"/>
                  </a:cubicBezTo>
                  <a:cubicBezTo>
                    <a:pt x="2937015" y="1105491"/>
                    <a:pt x="2923245" y="1116668"/>
                    <a:pt x="2910013" y="1129096"/>
                  </a:cubicBezTo>
                  <a:cubicBezTo>
                    <a:pt x="2895439" y="1141256"/>
                    <a:pt x="2897048" y="1144564"/>
                    <a:pt x="2915288" y="1139199"/>
                  </a:cubicBezTo>
                  <a:cubicBezTo>
                    <a:pt x="2920563" y="1137858"/>
                    <a:pt x="2925928" y="1137411"/>
                    <a:pt x="2931292" y="1138037"/>
                  </a:cubicBezTo>
                  <a:cubicBezTo>
                    <a:pt x="2947655" y="1139915"/>
                    <a:pt x="2960172" y="1148319"/>
                    <a:pt x="2965537" y="1163519"/>
                  </a:cubicBezTo>
                  <a:cubicBezTo>
                    <a:pt x="2972511" y="1183190"/>
                    <a:pt x="2955255" y="1191773"/>
                    <a:pt x="2944347" y="1202860"/>
                  </a:cubicBezTo>
                  <a:cubicBezTo>
                    <a:pt x="2943095" y="1207510"/>
                    <a:pt x="2931740" y="1204112"/>
                    <a:pt x="2936210" y="1213322"/>
                  </a:cubicBezTo>
                  <a:cubicBezTo>
                    <a:pt x="2952125" y="1234870"/>
                    <a:pt x="2952751" y="1265449"/>
                    <a:pt x="2977697" y="1281185"/>
                  </a:cubicBezTo>
                  <a:cubicBezTo>
                    <a:pt x="2986370" y="1287354"/>
                    <a:pt x="2996742" y="1282347"/>
                    <a:pt x="3005862" y="1285298"/>
                  </a:cubicBezTo>
                  <a:cubicBezTo>
                    <a:pt x="3013372" y="1287444"/>
                    <a:pt x="3020883" y="1289679"/>
                    <a:pt x="3025980" y="1296206"/>
                  </a:cubicBezTo>
                  <a:cubicBezTo>
                    <a:pt x="3029288" y="1302376"/>
                    <a:pt x="3029735" y="1308813"/>
                    <a:pt x="3027768" y="1315519"/>
                  </a:cubicBezTo>
                  <a:cubicBezTo>
                    <a:pt x="3018826" y="1332686"/>
                    <a:pt x="3000676" y="1336888"/>
                    <a:pt x="2985118" y="1341985"/>
                  </a:cubicBezTo>
                  <a:cubicBezTo>
                    <a:pt x="2960977" y="1349853"/>
                    <a:pt x="2940770" y="1360582"/>
                    <a:pt x="2924050" y="1380700"/>
                  </a:cubicBezTo>
                  <a:cubicBezTo>
                    <a:pt x="2912605" y="1394469"/>
                    <a:pt x="2895170" y="1407166"/>
                    <a:pt x="2880060" y="1381505"/>
                  </a:cubicBezTo>
                  <a:cubicBezTo>
                    <a:pt x="2876841" y="1371580"/>
                    <a:pt x="2877020" y="1361477"/>
                    <a:pt x="2878093" y="1351373"/>
                  </a:cubicBezTo>
                  <a:cubicBezTo>
                    <a:pt x="2878450" y="1348065"/>
                    <a:pt x="2879344" y="1344846"/>
                    <a:pt x="2880417" y="1341717"/>
                  </a:cubicBezTo>
                  <a:cubicBezTo>
                    <a:pt x="2884441" y="1330540"/>
                    <a:pt x="2883904" y="1328037"/>
                    <a:pt x="2873622" y="1331524"/>
                  </a:cubicBezTo>
                  <a:cubicBezTo>
                    <a:pt x="2871655" y="1333312"/>
                    <a:pt x="2869777" y="1335100"/>
                    <a:pt x="2868079" y="1337157"/>
                  </a:cubicBezTo>
                  <a:cubicBezTo>
                    <a:pt x="2862535" y="1347350"/>
                    <a:pt x="2855024" y="1355486"/>
                    <a:pt x="2844385" y="1360493"/>
                  </a:cubicBezTo>
                  <a:cubicBezTo>
                    <a:pt x="2818813" y="1368004"/>
                    <a:pt x="2796549" y="1381594"/>
                    <a:pt x="2777862" y="1400102"/>
                  </a:cubicBezTo>
                  <a:cubicBezTo>
                    <a:pt x="2764003" y="1413782"/>
                    <a:pt x="2747999" y="1429161"/>
                    <a:pt x="2770441" y="1449100"/>
                  </a:cubicBezTo>
                  <a:cubicBezTo>
                    <a:pt x="2776879" y="1454822"/>
                    <a:pt x="2775359" y="1461170"/>
                    <a:pt x="2770888" y="1466356"/>
                  </a:cubicBezTo>
                  <a:cubicBezTo>
                    <a:pt x="2761500" y="1477175"/>
                    <a:pt x="2751396" y="1487726"/>
                    <a:pt x="2734945" y="1478785"/>
                  </a:cubicBezTo>
                  <a:cubicBezTo>
                    <a:pt x="2709820" y="1482629"/>
                    <a:pt x="2688540" y="1499170"/>
                    <a:pt x="2662611" y="1500601"/>
                  </a:cubicBezTo>
                  <a:cubicBezTo>
                    <a:pt x="2660644" y="1500690"/>
                    <a:pt x="2657336" y="1502389"/>
                    <a:pt x="2657157" y="1503641"/>
                  </a:cubicBezTo>
                  <a:cubicBezTo>
                    <a:pt x="2652597" y="1539137"/>
                    <a:pt x="2619962" y="1562206"/>
                    <a:pt x="2615223" y="1597344"/>
                  </a:cubicBezTo>
                  <a:cubicBezTo>
                    <a:pt x="2612540" y="1617372"/>
                    <a:pt x="2597787" y="1628102"/>
                    <a:pt x="2585985" y="1641424"/>
                  </a:cubicBezTo>
                  <a:cubicBezTo>
                    <a:pt x="2575435" y="1628638"/>
                    <a:pt x="2577133" y="1636954"/>
                    <a:pt x="2577223" y="1656535"/>
                  </a:cubicBezTo>
                  <a:cubicBezTo>
                    <a:pt x="2563811" y="1671824"/>
                    <a:pt x="2596715" y="1691048"/>
                    <a:pt x="2573110" y="1705443"/>
                  </a:cubicBezTo>
                  <a:cubicBezTo>
                    <a:pt x="2583571" y="1721179"/>
                    <a:pt x="2567209" y="1724935"/>
                    <a:pt x="2560145" y="1729137"/>
                  </a:cubicBezTo>
                  <a:cubicBezTo>
                    <a:pt x="2532606" y="1745767"/>
                    <a:pt x="2506677" y="1766958"/>
                    <a:pt x="2483073" y="1786271"/>
                  </a:cubicBezTo>
                  <a:cubicBezTo>
                    <a:pt x="2447040" y="1815777"/>
                    <a:pt x="2407698" y="1849038"/>
                    <a:pt x="2407877" y="1909480"/>
                  </a:cubicBezTo>
                  <a:cubicBezTo>
                    <a:pt x="2407967" y="1954544"/>
                    <a:pt x="2412348" y="1998355"/>
                    <a:pt x="2417087" y="2042614"/>
                  </a:cubicBezTo>
                  <a:cubicBezTo>
                    <a:pt x="2418875" y="2059244"/>
                    <a:pt x="2418696" y="2075339"/>
                    <a:pt x="2411990" y="2090628"/>
                  </a:cubicBezTo>
                  <a:cubicBezTo>
                    <a:pt x="2408235" y="2099122"/>
                    <a:pt x="2401350" y="2105381"/>
                    <a:pt x="2391515" y="2103324"/>
                  </a:cubicBezTo>
                  <a:cubicBezTo>
                    <a:pt x="2383110" y="2101536"/>
                    <a:pt x="2373901" y="2098049"/>
                    <a:pt x="2373275" y="2087320"/>
                  </a:cubicBezTo>
                  <a:cubicBezTo>
                    <a:pt x="2372023" y="2066040"/>
                    <a:pt x="2364691" y="2048068"/>
                    <a:pt x="2351459" y="2030990"/>
                  </a:cubicBezTo>
                  <a:cubicBezTo>
                    <a:pt x="2346720" y="2024910"/>
                    <a:pt x="2347077" y="2010247"/>
                    <a:pt x="2351101" y="2002736"/>
                  </a:cubicBezTo>
                  <a:cubicBezTo>
                    <a:pt x="2366927" y="1973409"/>
                    <a:pt x="2344932" y="1953113"/>
                    <a:pt x="2335275" y="1930581"/>
                  </a:cubicBezTo>
                  <a:cubicBezTo>
                    <a:pt x="2328122" y="1913951"/>
                    <a:pt x="2317393" y="1927005"/>
                    <a:pt x="2309435" y="1933085"/>
                  </a:cubicBezTo>
                  <a:cubicBezTo>
                    <a:pt x="2296560" y="1942831"/>
                    <a:pt x="2290122" y="1946049"/>
                    <a:pt x="2276979" y="1928167"/>
                  </a:cubicBezTo>
                  <a:cubicBezTo>
                    <a:pt x="2257934" y="1902416"/>
                    <a:pt x="2225299" y="1933353"/>
                    <a:pt x="2199280" y="1919852"/>
                  </a:cubicBezTo>
                  <a:cubicBezTo>
                    <a:pt x="2194273" y="1917259"/>
                    <a:pt x="2172188" y="1922892"/>
                    <a:pt x="2172814" y="1937645"/>
                  </a:cubicBezTo>
                  <a:cubicBezTo>
                    <a:pt x="2174066" y="1965273"/>
                    <a:pt x="2151266" y="1962680"/>
                    <a:pt x="2136871" y="1970727"/>
                  </a:cubicBezTo>
                  <a:cubicBezTo>
                    <a:pt x="2132311" y="1973320"/>
                    <a:pt x="2124890" y="1977969"/>
                    <a:pt x="2122386" y="1972962"/>
                  </a:cubicBezTo>
                  <a:cubicBezTo>
                    <a:pt x="2110047" y="1947927"/>
                    <a:pt x="2087069" y="1958209"/>
                    <a:pt x="2068292" y="1955706"/>
                  </a:cubicBezTo>
                  <a:cubicBezTo>
                    <a:pt x="2046207" y="1952845"/>
                    <a:pt x="2025464" y="1952845"/>
                    <a:pt x="2013572" y="1979132"/>
                  </a:cubicBezTo>
                  <a:cubicBezTo>
                    <a:pt x="2009459" y="1988252"/>
                    <a:pt x="1994528" y="1992543"/>
                    <a:pt x="1984514" y="1999071"/>
                  </a:cubicBezTo>
                  <a:cubicBezTo>
                    <a:pt x="1956170" y="2017579"/>
                    <a:pt x="1934354" y="2035103"/>
                    <a:pt x="1933549" y="2077127"/>
                  </a:cubicBezTo>
                  <a:cubicBezTo>
                    <a:pt x="1932744" y="2117362"/>
                    <a:pt x="1911643" y="2157061"/>
                    <a:pt x="1917365" y="2199799"/>
                  </a:cubicBezTo>
                  <a:cubicBezTo>
                    <a:pt x="1917723" y="2202750"/>
                    <a:pt x="1916650" y="2206863"/>
                    <a:pt x="1914683" y="2209009"/>
                  </a:cubicBezTo>
                  <a:cubicBezTo>
                    <a:pt x="1879187" y="2248082"/>
                    <a:pt x="1912895" y="2275352"/>
                    <a:pt x="1931045" y="2305126"/>
                  </a:cubicBezTo>
                  <a:cubicBezTo>
                    <a:pt x="1933817" y="2309686"/>
                    <a:pt x="1941417" y="2314157"/>
                    <a:pt x="1940791" y="2317465"/>
                  </a:cubicBezTo>
                  <a:cubicBezTo>
                    <a:pt x="1932387" y="2362618"/>
                    <a:pt x="1974321" y="2359489"/>
                    <a:pt x="1995869" y="2375672"/>
                  </a:cubicBezTo>
                  <a:cubicBezTo>
                    <a:pt x="2001770" y="2380053"/>
                    <a:pt x="2008297" y="2378623"/>
                    <a:pt x="2014645" y="2376477"/>
                  </a:cubicBezTo>
                  <a:cubicBezTo>
                    <a:pt x="2036104" y="2369324"/>
                    <a:pt x="2055953" y="2358415"/>
                    <a:pt x="2077591" y="2351084"/>
                  </a:cubicBezTo>
                  <a:cubicBezTo>
                    <a:pt x="2091003" y="2346524"/>
                    <a:pt x="2101911" y="2330966"/>
                    <a:pt x="2100302" y="2311385"/>
                  </a:cubicBezTo>
                  <a:cubicBezTo>
                    <a:pt x="2098960" y="2295470"/>
                    <a:pt x="2096993" y="2272133"/>
                    <a:pt x="2112104" y="2266679"/>
                  </a:cubicBezTo>
                  <a:cubicBezTo>
                    <a:pt x="2139732" y="2256665"/>
                    <a:pt x="2167360" y="2239230"/>
                    <a:pt x="2197939" y="2244595"/>
                  </a:cubicBezTo>
                  <a:cubicBezTo>
                    <a:pt x="2215553" y="2247635"/>
                    <a:pt x="2211619" y="2267126"/>
                    <a:pt x="2204198" y="2276515"/>
                  </a:cubicBezTo>
                  <a:cubicBezTo>
                    <a:pt x="2176927" y="2311296"/>
                    <a:pt x="2179520" y="2354660"/>
                    <a:pt x="2167450" y="2393733"/>
                  </a:cubicBezTo>
                  <a:cubicBezTo>
                    <a:pt x="2163784" y="2405536"/>
                    <a:pt x="2158240" y="2415907"/>
                    <a:pt x="2150998" y="2425295"/>
                  </a:cubicBezTo>
                  <a:cubicBezTo>
                    <a:pt x="2137586" y="2442820"/>
                    <a:pt x="2147332" y="2448096"/>
                    <a:pt x="2163337" y="2449526"/>
                  </a:cubicBezTo>
                  <a:cubicBezTo>
                    <a:pt x="2180951" y="2451135"/>
                    <a:pt x="2197849" y="2446039"/>
                    <a:pt x="2214838" y="2442284"/>
                  </a:cubicBezTo>
                  <a:cubicBezTo>
                    <a:pt x="2237727" y="2437277"/>
                    <a:pt x="2259007" y="2436025"/>
                    <a:pt x="2277783" y="2455695"/>
                  </a:cubicBezTo>
                  <a:cubicBezTo>
                    <a:pt x="2289943" y="2468481"/>
                    <a:pt x="2294414" y="2475992"/>
                    <a:pt x="2284132" y="2494053"/>
                  </a:cubicBezTo>
                  <a:cubicBezTo>
                    <a:pt x="2265713" y="2526241"/>
                    <a:pt x="2268663" y="2565314"/>
                    <a:pt x="2267233" y="2600453"/>
                  </a:cubicBezTo>
                  <a:cubicBezTo>
                    <a:pt x="2266428" y="2621107"/>
                    <a:pt x="2291911" y="2643817"/>
                    <a:pt x="2307826" y="2661789"/>
                  </a:cubicBezTo>
                  <a:cubicBezTo>
                    <a:pt x="2323652" y="2679671"/>
                    <a:pt x="2350296" y="2669121"/>
                    <a:pt x="2368894" y="2653653"/>
                  </a:cubicBezTo>
                  <a:cubicBezTo>
                    <a:pt x="2376583" y="2647215"/>
                    <a:pt x="2375153" y="2626382"/>
                    <a:pt x="2387492" y="2630942"/>
                  </a:cubicBezTo>
                  <a:cubicBezTo>
                    <a:pt x="2405016" y="2637380"/>
                    <a:pt x="2425670" y="2637111"/>
                    <a:pt x="2440066" y="2651328"/>
                  </a:cubicBezTo>
                  <a:cubicBezTo>
                    <a:pt x="2447755" y="2658928"/>
                    <a:pt x="2454639" y="2667243"/>
                    <a:pt x="2460094" y="2673144"/>
                  </a:cubicBezTo>
                  <a:cubicBezTo>
                    <a:pt x="2491388" y="2646500"/>
                    <a:pt x="2496663" y="2600900"/>
                    <a:pt x="2532159" y="2578368"/>
                  </a:cubicBezTo>
                  <a:cubicBezTo>
                    <a:pt x="2557999" y="2561916"/>
                    <a:pt x="2588220" y="2552170"/>
                    <a:pt x="2608338" y="2527046"/>
                  </a:cubicBezTo>
                  <a:cubicBezTo>
                    <a:pt x="2611467" y="2523201"/>
                    <a:pt x="2618710" y="2522039"/>
                    <a:pt x="2623270" y="2526331"/>
                  </a:cubicBezTo>
                  <a:cubicBezTo>
                    <a:pt x="2629886" y="2532589"/>
                    <a:pt x="2625505" y="2538222"/>
                    <a:pt x="2620319" y="2542693"/>
                  </a:cubicBezTo>
                  <a:cubicBezTo>
                    <a:pt x="2598592" y="2561559"/>
                    <a:pt x="2619962" y="2591065"/>
                    <a:pt x="2603152" y="2612345"/>
                  </a:cubicBezTo>
                  <a:cubicBezTo>
                    <a:pt x="2599933" y="2616457"/>
                    <a:pt x="2615402" y="2629511"/>
                    <a:pt x="2622912" y="2629601"/>
                  </a:cubicBezTo>
                  <a:cubicBezTo>
                    <a:pt x="2636056" y="2629780"/>
                    <a:pt x="2632211" y="2616457"/>
                    <a:pt x="2629528" y="2609483"/>
                  </a:cubicBezTo>
                  <a:cubicBezTo>
                    <a:pt x="2620498" y="2585968"/>
                    <a:pt x="2620587" y="2567013"/>
                    <a:pt x="2648841" y="2558340"/>
                  </a:cubicBezTo>
                  <a:cubicBezTo>
                    <a:pt x="2662253" y="2554227"/>
                    <a:pt x="2656173" y="2540815"/>
                    <a:pt x="2662253" y="2529639"/>
                  </a:cubicBezTo>
                  <a:cubicBezTo>
                    <a:pt x="2676112" y="2548236"/>
                    <a:pt x="2700789" y="2552081"/>
                    <a:pt x="2707943" y="2575328"/>
                  </a:cubicBezTo>
                  <a:cubicBezTo>
                    <a:pt x="2709284" y="2579799"/>
                    <a:pt x="2713844" y="2584269"/>
                    <a:pt x="2717510" y="2582034"/>
                  </a:cubicBezTo>
                  <a:cubicBezTo>
                    <a:pt x="2754794" y="2559770"/>
                    <a:pt x="2797712" y="2612791"/>
                    <a:pt x="2833834" y="2573093"/>
                  </a:cubicBezTo>
                  <a:cubicBezTo>
                    <a:pt x="2837142" y="2569427"/>
                    <a:pt x="2846351" y="2571215"/>
                    <a:pt x="2852789" y="2570410"/>
                  </a:cubicBezTo>
                  <a:cubicBezTo>
                    <a:pt x="2858422" y="2566297"/>
                    <a:pt x="2864860" y="2566655"/>
                    <a:pt x="2871297" y="2567460"/>
                  </a:cubicBezTo>
                  <a:cubicBezTo>
                    <a:pt x="2876215" y="2568086"/>
                    <a:pt x="2883278" y="2565850"/>
                    <a:pt x="2884799" y="2572467"/>
                  </a:cubicBezTo>
                  <a:cubicBezTo>
                    <a:pt x="2886944" y="2581855"/>
                    <a:pt x="2875947" y="2579083"/>
                    <a:pt x="2872638" y="2583822"/>
                  </a:cubicBezTo>
                  <a:cubicBezTo>
                    <a:pt x="2909297" y="2594730"/>
                    <a:pt x="2923603" y="2633088"/>
                    <a:pt x="2954987" y="2651060"/>
                  </a:cubicBezTo>
                  <a:cubicBezTo>
                    <a:pt x="2965179" y="2656871"/>
                    <a:pt x="2976356" y="2666260"/>
                    <a:pt x="2976714" y="2681281"/>
                  </a:cubicBezTo>
                  <a:cubicBezTo>
                    <a:pt x="2975551" y="2703365"/>
                    <a:pt x="2998441" y="2683874"/>
                    <a:pt x="3002822" y="2696302"/>
                  </a:cubicBezTo>
                  <a:cubicBezTo>
                    <a:pt x="3004878" y="2702829"/>
                    <a:pt x="3010422" y="2701577"/>
                    <a:pt x="3015250" y="2701935"/>
                  </a:cubicBezTo>
                  <a:cubicBezTo>
                    <a:pt x="3018290" y="2716867"/>
                    <a:pt x="3030629" y="2718297"/>
                    <a:pt x="3042342" y="2720622"/>
                  </a:cubicBezTo>
                  <a:cubicBezTo>
                    <a:pt x="3100549" y="2705958"/>
                    <a:pt x="3157504" y="2717940"/>
                    <a:pt x="3178158" y="2767295"/>
                  </a:cubicBezTo>
                  <a:cubicBezTo>
                    <a:pt x="3191301" y="2798678"/>
                    <a:pt x="3233504" y="2833459"/>
                    <a:pt x="3198812" y="2876824"/>
                  </a:cubicBezTo>
                  <a:cubicBezTo>
                    <a:pt x="3190497" y="2908654"/>
                    <a:pt x="3168948" y="2920099"/>
                    <a:pt x="3182539" y="2908297"/>
                  </a:cubicBezTo>
                  <a:cubicBezTo>
                    <a:pt x="3191123" y="2900786"/>
                    <a:pt x="3198454" y="2890236"/>
                    <a:pt x="3212313" y="2897120"/>
                  </a:cubicBezTo>
                  <a:cubicBezTo>
                    <a:pt x="3225099" y="2897478"/>
                    <a:pt x="3237796" y="2897836"/>
                    <a:pt x="3250581" y="2898193"/>
                  </a:cubicBezTo>
                  <a:cubicBezTo>
                    <a:pt x="3258002" y="2908744"/>
                    <a:pt x="3257019" y="2918937"/>
                    <a:pt x="3249419" y="2928951"/>
                  </a:cubicBezTo>
                  <a:cubicBezTo>
                    <a:pt x="3244322" y="2936908"/>
                    <a:pt x="3243518" y="2938518"/>
                    <a:pt x="3248703" y="2931633"/>
                  </a:cubicBezTo>
                  <a:cubicBezTo>
                    <a:pt x="3253085" y="2925374"/>
                    <a:pt x="3258450" y="2920367"/>
                    <a:pt x="3265960" y="2918132"/>
                  </a:cubicBezTo>
                  <a:cubicBezTo>
                    <a:pt x="3306642" y="2919384"/>
                    <a:pt x="3346073" y="2923407"/>
                    <a:pt x="3369856" y="2963285"/>
                  </a:cubicBezTo>
                  <a:cubicBezTo>
                    <a:pt x="3388633" y="2971779"/>
                    <a:pt x="3409108" y="2962301"/>
                    <a:pt x="3428063" y="2968739"/>
                  </a:cubicBezTo>
                  <a:cubicBezTo>
                    <a:pt x="3459536" y="2961407"/>
                    <a:pt x="3489757" y="2966861"/>
                    <a:pt x="3519531" y="2977322"/>
                  </a:cubicBezTo>
                  <a:cubicBezTo>
                    <a:pt x="3530171" y="2981525"/>
                    <a:pt x="3541258" y="2985101"/>
                    <a:pt x="3545460" y="2997529"/>
                  </a:cubicBezTo>
                  <a:cubicBezTo>
                    <a:pt x="3560035" y="3017647"/>
                    <a:pt x="3576308" y="3030969"/>
                    <a:pt x="3604472" y="3023816"/>
                  </a:cubicBezTo>
                  <a:cubicBezTo>
                    <a:pt x="3622980" y="3019078"/>
                    <a:pt x="3639343" y="3023816"/>
                    <a:pt x="3638270" y="3049657"/>
                  </a:cubicBezTo>
                  <a:cubicBezTo>
                    <a:pt x="3637912" y="3057882"/>
                    <a:pt x="3642562" y="3066287"/>
                    <a:pt x="3644886" y="3074602"/>
                  </a:cubicBezTo>
                  <a:cubicBezTo>
                    <a:pt x="3648910" y="3094183"/>
                    <a:pt x="3648999" y="3113764"/>
                    <a:pt x="3644886" y="3133346"/>
                  </a:cubicBezTo>
                  <a:cubicBezTo>
                    <a:pt x="3625126" y="3183058"/>
                    <a:pt x="3572284" y="3204249"/>
                    <a:pt x="3545550" y="3248061"/>
                  </a:cubicBezTo>
                  <a:cubicBezTo>
                    <a:pt x="3540722" y="3256018"/>
                    <a:pt x="3532496" y="3262009"/>
                    <a:pt x="3525879" y="3268894"/>
                  </a:cubicBezTo>
                  <a:cubicBezTo>
                    <a:pt x="3521140" y="3273096"/>
                    <a:pt x="3514524" y="3276494"/>
                    <a:pt x="3519710" y="3284541"/>
                  </a:cubicBezTo>
                  <a:cubicBezTo>
                    <a:pt x="3513898" y="3322809"/>
                    <a:pt x="3522303" y="3361613"/>
                    <a:pt x="3514077" y="3400060"/>
                  </a:cubicBezTo>
                  <a:cubicBezTo>
                    <a:pt x="3510322" y="3417585"/>
                    <a:pt x="3493781" y="3431354"/>
                    <a:pt x="3499682" y="3451293"/>
                  </a:cubicBezTo>
                  <a:cubicBezTo>
                    <a:pt x="3493155" y="3462201"/>
                    <a:pt x="3502007" y="3476060"/>
                    <a:pt x="3492797" y="3486432"/>
                  </a:cubicBezTo>
                  <a:cubicBezTo>
                    <a:pt x="3478134" y="3506907"/>
                    <a:pt x="3458463" y="3525594"/>
                    <a:pt x="3450863" y="3548394"/>
                  </a:cubicBezTo>
                  <a:cubicBezTo>
                    <a:pt x="3446840" y="3560465"/>
                    <a:pt x="3448538" y="3572982"/>
                    <a:pt x="3435037" y="3579867"/>
                  </a:cubicBezTo>
                  <a:cubicBezTo>
                    <a:pt x="3431014" y="3591401"/>
                    <a:pt x="3423235" y="3595335"/>
                    <a:pt x="3410896" y="3594888"/>
                  </a:cubicBezTo>
                  <a:cubicBezTo>
                    <a:pt x="3396233" y="3594352"/>
                    <a:pt x="3381211" y="3592206"/>
                    <a:pt x="3366727" y="3597213"/>
                  </a:cubicBezTo>
                  <a:cubicBezTo>
                    <a:pt x="3330247" y="3625020"/>
                    <a:pt x="3283306" y="3637001"/>
                    <a:pt x="3252101" y="3672855"/>
                  </a:cubicBezTo>
                  <a:cubicBezTo>
                    <a:pt x="3244591" y="3681438"/>
                    <a:pt x="3232163" y="3687787"/>
                    <a:pt x="3239315" y="3702629"/>
                  </a:cubicBezTo>
                  <a:cubicBezTo>
                    <a:pt x="3243339" y="3715683"/>
                    <a:pt x="3243518" y="3728737"/>
                    <a:pt x="3239137" y="3741702"/>
                  </a:cubicBezTo>
                  <a:cubicBezTo>
                    <a:pt x="3231447" y="3784888"/>
                    <a:pt x="3202657" y="3816808"/>
                    <a:pt x="3180125" y="3852036"/>
                  </a:cubicBezTo>
                  <a:cubicBezTo>
                    <a:pt x="3175207" y="3848191"/>
                    <a:pt x="3174939" y="3843095"/>
                    <a:pt x="3176459" y="3837640"/>
                  </a:cubicBezTo>
                  <a:cubicBezTo>
                    <a:pt x="3174224" y="3841843"/>
                    <a:pt x="3173598" y="3846492"/>
                    <a:pt x="3171988" y="3850873"/>
                  </a:cubicBezTo>
                  <a:cubicBezTo>
                    <a:pt x="3169664" y="3857132"/>
                    <a:pt x="3164746" y="3861424"/>
                    <a:pt x="3160365" y="3866073"/>
                  </a:cubicBezTo>
                  <a:cubicBezTo>
                    <a:pt x="3144629" y="3882436"/>
                    <a:pt x="3122276" y="3892360"/>
                    <a:pt x="3130770" y="3924906"/>
                  </a:cubicBezTo>
                  <a:cubicBezTo>
                    <a:pt x="3135866" y="3944309"/>
                    <a:pt x="3069791" y="3989014"/>
                    <a:pt x="3042520" y="3990176"/>
                  </a:cubicBezTo>
                  <a:cubicBezTo>
                    <a:pt x="3029645" y="4001800"/>
                    <a:pt x="3014356" y="3999118"/>
                    <a:pt x="2999335" y="3997687"/>
                  </a:cubicBezTo>
                  <a:cubicBezTo>
                    <a:pt x="2995490" y="3997061"/>
                    <a:pt x="2991824" y="3995542"/>
                    <a:pt x="2987890" y="3995005"/>
                  </a:cubicBezTo>
                  <a:cubicBezTo>
                    <a:pt x="2983598" y="3994379"/>
                    <a:pt x="2980737" y="3996346"/>
                    <a:pt x="2985029" y="3995542"/>
                  </a:cubicBezTo>
                  <a:cubicBezTo>
                    <a:pt x="2989321" y="3994737"/>
                    <a:pt x="2982973" y="4000549"/>
                    <a:pt x="2986638" y="3997866"/>
                  </a:cubicBezTo>
                  <a:cubicBezTo>
                    <a:pt x="3002017" y="4009847"/>
                    <a:pt x="3006041" y="4029160"/>
                    <a:pt x="3017396" y="4043734"/>
                  </a:cubicBezTo>
                  <a:cubicBezTo>
                    <a:pt x="3026784" y="4055805"/>
                    <a:pt x="3018648" y="4068501"/>
                    <a:pt x="3011495" y="4079678"/>
                  </a:cubicBezTo>
                  <a:cubicBezTo>
                    <a:pt x="2987532" y="4116962"/>
                    <a:pt x="2952215" y="4136812"/>
                    <a:pt x="2909297" y="4141998"/>
                  </a:cubicBezTo>
                  <a:cubicBezTo>
                    <a:pt x="2882385" y="4145306"/>
                    <a:pt x="2868168" y="4156661"/>
                    <a:pt x="2867542" y="4184826"/>
                  </a:cubicBezTo>
                  <a:cubicBezTo>
                    <a:pt x="2866827" y="4215315"/>
                    <a:pt x="2846173" y="4221574"/>
                    <a:pt x="2820422" y="4221127"/>
                  </a:cubicBezTo>
                  <a:cubicBezTo>
                    <a:pt x="2810945" y="4220948"/>
                    <a:pt x="2797891" y="4218087"/>
                    <a:pt x="2793688" y="4228101"/>
                  </a:cubicBezTo>
                  <a:cubicBezTo>
                    <a:pt x="2788323" y="4240708"/>
                    <a:pt x="2803434" y="4242228"/>
                    <a:pt x="2810140" y="4248129"/>
                  </a:cubicBezTo>
                  <a:cubicBezTo>
                    <a:pt x="2820690" y="4257428"/>
                    <a:pt x="2820065" y="4266190"/>
                    <a:pt x="2809425" y="4275131"/>
                  </a:cubicBezTo>
                  <a:cubicBezTo>
                    <a:pt x="2791185" y="4290331"/>
                    <a:pt x="2780634" y="4309287"/>
                    <a:pt x="2777773" y="4333517"/>
                  </a:cubicBezTo>
                  <a:cubicBezTo>
                    <a:pt x="2776164" y="4347733"/>
                    <a:pt x="2765792" y="4358642"/>
                    <a:pt x="2753811" y="4367047"/>
                  </a:cubicBezTo>
                  <a:cubicBezTo>
                    <a:pt x="2727613" y="4385465"/>
                    <a:pt x="2727702" y="4385644"/>
                    <a:pt x="2753185" y="4407818"/>
                  </a:cubicBezTo>
                  <a:cubicBezTo>
                    <a:pt x="2759801" y="4413541"/>
                    <a:pt x="2766507" y="4419174"/>
                    <a:pt x="2767133" y="4428830"/>
                  </a:cubicBezTo>
                  <a:cubicBezTo>
                    <a:pt x="2766418" y="4430529"/>
                    <a:pt x="2766328" y="4432317"/>
                    <a:pt x="2766865" y="4434195"/>
                  </a:cubicBezTo>
                  <a:cubicBezTo>
                    <a:pt x="2765434" y="4449931"/>
                    <a:pt x="2752917" y="4457978"/>
                    <a:pt x="2742902" y="4467366"/>
                  </a:cubicBezTo>
                  <a:cubicBezTo>
                    <a:pt x="2730832" y="4478722"/>
                    <a:pt x="2720550" y="4490524"/>
                    <a:pt x="2716794" y="4507154"/>
                  </a:cubicBezTo>
                  <a:cubicBezTo>
                    <a:pt x="2714827" y="4515738"/>
                    <a:pt x="2711698" y="4525126"/>
                    <a:pt x="2703293" y="4528255"/>
                  </a:cubicBezTo>
                  <a:cubicBezTo>
                    <a:pt x="2670658" y="4540594"/>
                    <a:pt x="2670479" y="4563842"/>
                    <a:pt x="2680404" y="4591201"/>
                  </a:cubicBezTo>
                  <a:cubicBezTo>
                    <a:pt x="2680135" y="4597997"/>
                    <a:pt x="2676917" y="4603182"/>
                    <a:pt x="2671910" y="4607563"/>
                  </a:cubicBezTo>
                  <a:cubicBezTo>
                    <a:pt x="2664310" y="4612928"/>
                    <a:pt x="2654653" y="4614448"/>
                    <a:pt x="2647768" y="4620975"/>
                  </a:cubicBezTo>
                  <a:cubicBezTo>
                    <a:pt x="2639990" y="4629112"/>
                    <a:pt x="2637665" y="4639931"/>
                    <a:pt x="2633642" y="4649945"/>
                  </a:cubicBezTo>
                  <a:cubicBezTo>
                    <a:pt x="2628277" y="4663088"/>
                    <a:pt x="2620766" y="4672655"/>
                    <a:pt x="2604493" y="4669168"/>
                  </a:cubicBezTo>
                  <a:cubicBezTo>
                    <a:pt x="2597966" y="4667022"/>
                    <a:pt x="2594390" y="4662462"/>
                    <a:pt x="2593764" y="4655667"/>
                  </a:cubicBezTo>
                  <a:cubicBezTo>
                    <a:pt x="2595642" y="4630006"/>
                    <a:pt x="2573289" y="4658707"/>
                    <a:pt x="2569802" y="4645116"/>
                  </a:cubicBezTo>
                  <a:cubicBezTo>
                    <a:pt x="2563900" y="4621959"/>
                    <a:pt x="2555585" y="4601036"/>
                    <a:pt x="2526705" y="4599606"/>
                  </a:cubicBezTo>
                  <a:cubicBezTo>
                    <a:pt x="2522145" y="4599248"/>
                    <a:pt x="2517764" y="4598086"/>
                    <a:pt x="2513562" y="4596119"/>
                  </a:cubicBezTo>
                  <a:cubicBezTo>
                    <a:pt x="2501044" y="4587804"/>
                    <a:pt x="2504442" y="4578416"/>
                    <a:pt x="2511774" y="4568849"/>
                  </a:cubicBezTo>
                  <a:cubicBezTo>
                    <a:pt x="2513293" y="4566345"/>
                    <a:pt x="2515082" y="4563931"/>
                    <a:pt x="2516781" y="4561517"/>
                  </a:cubicBezTo>
                  <a:cubicBezTo>
                    <a:pt x="2528047" y="4548641"/>
                    <a:pt x="2527689" y="4536303"/>
                    <a:pt x="2514724" y="4524769"/>
                  </a:cubicBezTo>
                  <a:cubicBezTo>
                    <a:pt x="2500955" y="4511625"/>
                    <a:pt x="2497915" y="4497409"/>
                    <a:pt x="2510879" y="4482030"/>
                  </a:cubicBezTo>
                  <a:cubicBezTo>
                    <a:pt x="2515797" y="4476218"/>
                    <a:pt x="2513830" y="4469780"/>
                    <a:pt x="2513919" y="4463521"/>
                  </a:cubicBezTo>
                  <a:cubicBezTo>
                    <a:pt x="2513919" y="4461018"/>
                    <a:pt x="2514367" y="4458514"/>
                    <a:pt x="2514814" y="4456190"/>
                  </a:cubicBezTo>
                  <a:cubicBezTo>
                    <a:pt x="2513383" y="4447338"/>
                    <a:pt x="2506051" y="4450736"/>
                    <a:pt x="2500865" y="4449573"/>
                  </a:cubicBezTo>
                  <a:cubicBezTo>
                    <a:pt x="2489152" y="4448500"/>
                    <a:pt x="2472790" y="4447427"/>
                    <a:pt x="2474042" y="4433926"/>
                  </a:cubicBezTo>
                  <a:cubicBezTo>
                    <a:pt x="2475293" y="4420068"/>
                    <a:pt x="2478870" y="4402275"/>
                    <a:pt x="2497110" y="4396463"/>
                  </a:cubicBezTo>
                  <a:cubicBezTo>
                    <a:pt x="2506051" y="4394943"/>
                    <a:pt x="2514456" y="4396642"/>
                    <a:pt x="2522324" y="4400844"/>
                  </a:cubicBezTo>
                  <a:cubicBezTo>
                    <a:pt x="2526526" y="4402811"/>
                    <a:pt x="2530461" y="4406119"/>
                    <a:pt x="2535736" y="4403527"/>
                  </a:cubicBezTo>
                  <a:cubicBezTo>
                    <a:pt x="2538687" y="4398788"/>
                    <a:pt x="2539759" y="4393423"/>
                    <a:pt x="2542084" y="4388505"/>
                  </a:cubicBezTo>
                  <a:cubicBezTo>
                    <a:pt x="2545571" y="4379385"/>
                    <a:pt x="2560592" y="4372233"/>
                    <a:pt x="2546823" y="4360162"/>
                  </a:cubicBezTo>
                  <a:cubicBezTo>
                    <a:pt x="2533679" y="4343710"/>
                    <a:pt x="2552635" y="4327079"/>
                    <a:pt x="2546376" y="4310538"/>
                  </a:cubicBezTo>
                  <a:cubicBezTo>
                    <a:pt x="2546465" y="4303833"/>
                    <a:pt x="2548969" y="4297753"/>
                    <a:pt x="2552366" y="4292120"/>
                  </a:cubicBezTo>
                  <a:cubicBezTo>
                    <a:pt x="2564974" y="4271108"/>
                    <a:pt x="2551919" y="4269141"/>
                    <a:pt x="2535646" y="4269409"/>
                  </a:cubicBezTo>
                  <a:cubicBezTo>
                    <a:pt x="2525364" y="4265117"/>
                    <a:pt x="2520715" y="4257249"/>
                    <a:pt x="2520983" y="4246251"/>
                  </a:cubicBezTo>
                  <a:cubicBezTo>
                    <a:pt x="2523218" y="4234986"/>
                    <a:pt x="2523665" y="4223541"/>
                    <a:pt x="2524112" y="4212096"/>
                  </a:cubicBezTo>
                  <a:cubicBezTo>
                    <a:pt x="2535646" y="4183216"/>
                    <a:pt x="2515708" y="4153085"/>
                    <a:pt x="2527689" y="4124204"/>
                  </a:cubicBezTo>
                  <a:cubicBezTo>
                    <a:pt x="2534126" y="4114995"/>
                    <a:pt x="2545661" y="4108915"/>
                    <a:pt x="2545124" y="4095325"/>
                  </a:cubicBezTo>
                  <a:cubicBezTo>
                    <a:pt x="2545661" y="4092285"/>
                    <a:pt x="2546465" y="4089334"/>
                    <a:pt x="2547359" y="4086473"/>
                  </a:cubicBezTo>
                  <a:cubicBezTo>
                    <a:pt x="2551472" y="4074581"/>
                    <a:pt x="2555675" y="4062689"/>
                    <a:pt x="2558536" y="4050351"/>
                  </a:cubicBezTo>
                  <a:cubicBezTo>
                    <a:pt x="2576955" y="3991786"/>
                    <a:pt x="2571053" y="3931076"/>
                    <a:pt x="2576865" y="3871617"/>
                  </a:cubicBezTo>
                  <a:cubicBezTo>
                    <a:pt x="2582677" y="3811532"/>
                    <a:pt x="2583482" y="3748855"/>
                    <a:pt x="2604672" y="3690469"/>
                  </a:cubicBezTo>
                  <a:cubicBezTo>
                    <a:pt x="2605745" y="3687429"/>
                    <a:pt x="2608338" y="3685104"/>
                    <a:pt x="2610752" y="3682958"/>
                  </a:cubicBezTo>
                  <a:cubicBezTo>
                    <a:pt x="2612808" y="3667669"/>
                    <a:pt x="2614865" y="3652380"/>
                    <a:pt x="2616922" y="3637090"/>
                  </a:cubicBezTo>
                  <a:cubicBezTo>
                    <a:pt x="2609232" y="3615632"/>
                    <a:pt x="2613256" y="3593189"/>
                    <a:pt x="2612004" y="3571284"/>
                  </a:cubicBezTo>
                  <a:cubicBezTo>
                    <a:pt x="2611736" y="3558319"/>
                    <a:pt x="2611378" y="3545443"/>
                    <a:pt x="2611110" y="3532479"/>
                  </a:cubicBezTo>
                  <a:cubicBezTo>
                    <a:pt x="2584286" y="3504135"/>
                    <a:pt x="2551383" y="3484286"/>
                    <a:pt x="2515171" y="3472215"/>
                  </a:cubicBezTo>
                  <a:cubicBezTo>
                    <a:pt x="2478870" y="3460056"/>
                    <a:pt x="2457143" y="3435646"/>
                    <a:pt x="2441675" y="3403011"/>
                  </a:cubicBezTo>
                  <a:cubicBezTo>
                    <a:pt x="2438635" y="3392729"/>
                    <a:pt x="2439887" y="3381373"/>
                    <a:pt x="2434075" y="3371717"/>
                  </a:cubicBezTo>
                  <a:cubicBezTo>
                    <a:pt x="2422183" y="3349811"/>
                    <a:pt x="2410470" y="3327816"/>
                    <a:pt x="2394376" y="3308503"/>
                  </a:cubicBezTo>
                  <a:cubicBezTo>
                    <a:pt x="2390889" y="3304390"/>
                    <a:pt x="2387044" y="3300366"/>
                    <a:pt x="2385703" y="3294912"/>
                  </a:cubicBezTo>
                  <a:cubicBezTo>
                    <a:pt x="2371576" y="3233755"/>
                    <a:pt x="2366212" y="3223115"/>
                    <a:pt x="2318019" y="3160884"/>
                  </a:cubicBezTo>
                  <a:cubicBezTo>
                    <a:pt x="2314353" y="3150334"/>
                    <a:pt x="2315158" y="3138889"/>
                    <a:pt x="2311402" y="3128339"/>
                  </a:cubicBezTo>
                  <a:cubicBezTo>
                    <a:pt x="2310508" y="3125299"/>
                    <a:pt x="2309882" y="3122169"/>
                    <a:pt x="2309435" y="3118950"/>
                  </a:cubicBezTo>
                  <a:cubicBezTo>
                    <a:pt x="2308452" y="3111082"/>
                    <a:pt x="2308362" y="3103124"/>
                    <a:pt x="2308988" y="3095256"/>
                  </a:cubicBezTo>
                  <a:cubicBezTo>
                    <a:pt x="2309256" y="3092038"/>
                    <a:pt x="2309972" y="3088819"/>
                    <a:pt x="2310776" y="3085689"/>
                  </a:cubicBezTo>
                  <a:cubicBezTo>
                    <a:pt x="2316141" y="3064320"/>
                    <a:pt x="2343411" y="3050103"/>
                    <a:pt x="2319539" y="3019078"/>
                  </a:cubicBezTo>
                  <a:cubicBezTo>
                    <a:pt x="2303623" y="2998334"/>
                    <a:pt x="2328212" y="2970616"/>
                    <a:pt x="2341623" y="2948353"/>
                  </a:cubicBezTo>
                  <a:cubicBezTo>
                    <a:pt x="2344574" y="2943078"/>
                    <a:pt x="2348329" y="2938250"/>
                    <a:pt x="2352263" y="2933600"/>
                  </a:cubicBezTo>
                  <a:cubicBezTo>
                    <a:pt x="2373722" y="2917595"/>
                    <a:pt x="2392588" y="2899445"/>
                    <a:pt x="2400903" y="2872890"/>
                  </a:cubicBezTo>
                  <a:cubicBezTo>
                    <a:pt x="2402513" y="2870386"/>
                    <a:pt x="2404480" y="2868061"/>
                    <a:pt x="2406447" y="2865826"/>
                  </a:cubicBezTo>
                  <a:cubicBezTo>
                    <a:pt x="2429873" y="2850358"/>
                    <a:pt x="2427995" y="2825949"/>
                    <a:pt x="2428442" y="2802433"/>
                  </a:cubicBezTo>
                  <a:cubicBezTo>
                    <a:pt x="2428889" y="2799393"/>
                    <a:pt x="2429604" y="2796443"/>
                    <a:pt x="2430498" y="2793582"/>
                  </a:cubicBezTo>
                  <a:cubicBezTo>
                    <a:pt x="2435952" y="2757459"/>
                    <a:pt x="2435595" y="2722321"/>
                    <a:pt x="2415477" y="2689685"/>
                  </a:cubicBezTo>
                  <a:cubicBezTo>
                    <a:pt x="2411096" y="2682532"/>
                    <a:pt x="2411186" y="2671893"/>
                    <a:pt x="2400099" y="2670909"/>
                  </a:cubicBezTo>
                  <a:cubicBezTo>
                    <a:pt x="2389190" y="2670015"/>
                    <a:pt x="2381143" y="2676095"/>
                    <a:pt x="2376136" y="2685036"/>
                  </a:cubicBezTo>
                  <a:cubicBezTo>
                    <a:pt x="2367284" y="2700594"/>
                    <a:pt x="2362814" y="2726433"/>
                    <a:pt x="2339835" y="2719459"/>
                  </a:cubicBezTo>
                  <a:cubicBezTo>
                    <a:pt x="2311223" y="2710786"/>
                    <a:pt x="2274654" y="2723573"/>
                    <a:pt x="2254089" y="2690937"/>
                  </a:cubicBezTo>
                  <a:cubicBezTo>
                    <a:pt x="2246489" y="2663041"/>
                    <a:pt x="2216358" y="2664024"/>
                    <a:pt x="2199370" y="2648288"/>
                  </a:cubicBezTo>
                  <a:cubicBezTo>
                    <a:pt x="2198833" y="2642029"/>
                    <a:pt x="2198297" y="2635860"/>
                    <a:pt x="2197849" y="2629601"/>
                  </a:cubicBezTo>
                  <a:cubicBezTo>
                    <a:pt x="2192842" y="2618871"/>
                    <a:pt x="2195257" y="2607337"/>
                    <a:pt x="2194452" y="2596072"/>
                  </a:cubicBezTo>
                  <a:cubicBezTo>
                    <a:pt x="2194184" y="2590439"/>
                    <a:pt x="2194452" y="2584448"/>
                    <a:pt x="2186673" y="2583554"/>
                  </a:cubicBezTo>
                  <a:cubicBezTo>
                    <a:pt x="2174245" y="2579978"/>
                    <a:pt x="2165840" y="2571752"/>
                    <a:pt x="2159850" y="2560665"/>
                  </a:cubicBezTo>
                  <a:cubicBezTo>
                    <a:pt x="2155290" y="2543408"/>
                    <a:pt x="2142414" y="2543855"/>
                    <a:pt x="2128734" y="2546180"/>
                  </a:cubicBezTo>
                  <a:cubicBezTo>
                    <a:pt x="2117469" y="2545822"/>
                    <a:pt x="2105756" y="2546537"/>
                    <a:pt x="2098066" y="2535719"/>
                  </a:cubicBezTo>
                  <a:cubicBezTo>
                    <a:pt x="2087337" y="2519982"/>
                    <a:pt x="2071332" y="2532053"/>
                    <a:pt x="2058367" y="2528208"/>
                  </a:cubicBezTo>
                  <a:cubicBezTo>
                    <a:pt x="2039591" y="2526956"/>
                    <a:pt x="2024749" y="2516227"/>
                    <a:pt x="2016344" y="2501653"/>
                  </a:cubicBezTo>
                  <a:cubicBezTo>
                    <a:pt x="1997925" y="2469465"/>
                    <a:pt x="1972532" y="2457305"/>
                    <a:pt x="1936857" y="246499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8" name="Freeform: Shape 7">
              <a:extLst>
                <a:ext uri="{FF2B5EF4-FFF2-40B4-BE49-F238E27FC236}">
                  <a16:creationId xmlns:a16="http://schemas.microsoft.com/office/drawing/2014/main" id="{44A953E2-8EFB-E2F6-A20C-CEF6408B4AB5}"/>
                </a:ext>
              </a:extLst>
            </p:cNvPr>
            <p:cNvSpPr/>
            <p:nvPr/>
          </p:nvSpPr>
          <p:spPr>
            <a:xfrm>
              <a:off x="6340558" y="2006655"/>
              <a:ext cx="1993904" cy="1861966"/>
            </a:xfrm>
            <a:custGeom>
              <a:avLst/>
              <a:gdLst>
                <a:gd name="connsiteX0" fmla="*/ 41779 w 1367725"/>
                <a:gd name="connsiteY0" fmla="*/ 296914 h 1277222"/>
                <a:gd name="connsiteX1" fmla="*/ 16296 w 1367725"/>
                <a:gd name="connsiteY1" fmla="*/ 274203 h 1277222"/>
                <a:gd name="connsiteX2" fmla="*/ 16565 w 1367725"/>
                <a:gd name="connsiteY2" fmla="*/ 240942 h 1277222"/>
                <a:gd name="connsiteX3" fmla="*/ 70390 w 1367725"/>
                <a:gd name="connsiteY3" fmla="*/ 226815 h 1277222"/>
                <a:gd name="connsiteX4" fmla="*/ 91581 w 1367725"/>
                <a:gd name="connsiteY4" fmla="*/ 222702 h 1277222"/>
                <a:gd name="connsiteX5" fmla="*/ 134230 w 1367725"/>
                <a:gd name="connsiteY5" fmla="*/ 211883 h 1277222"/>
                <a:gd name="connsiteX6" fmla="*/ 196818 w 1367725"/>
                <a:gd name="connsiteY6" fmla="*/ 193196 h 1277222"/>
                <a:gd name="connsiteX7" fmla="*/ 161948 w 1367725"/>
                <a:gd name="connsiteY7" fmla="*/ 185149 h 1277222"/>
                <a:gd name="connsiteX8" fmla="*/ 131101 w 1367725"/>
                <a:gd name="connsiteY8" fmla="*/ 175851 h 1277222"/>
                <a:gd name="connsiteX9" fmla="*/ 147284 w 1367725"/>
                <a:gd name="connsiteY9" fmla="*/ 153408 h 1277222"/>
                <a:gd name="connsiteX10" fmla="*/ 217472 w 1367725"/>
                <a:gd name="connsiteY10" fmla="*/ 132933 h 1277222"/>
                <a:gd name="connsiteX11" fmla="*/ 252254 w 1367725"/>
                <a:gd name="connsiteY11" fmla="*/ 125512 h 1277222"/>
                <a:gd name="connsiteX12" fmla="*/ 260658 w 1367725"/>
                <a:gd name="connsiteY12" fmla="*/ 117554 h 1277222"/>
                <a:gd name="connsiteX13" fmla="*/ 307868 w 1367725"/>
                <a:gd name="connsiteY13" fmla="*/ 76246 h 1277222"/>
                <a:gd name="connsiteX14" fmla="*/ 327270 w 1367725"/>
                <a:gd name="connsiteY14" fmla="*/ 87154 h 1277222"/>
                <a:gd name="connsiteX15" fmla="*/ 332992 w 1367725"/>
                <a:gd name="connsiteY15" fmla="*/ 94933 h 1277222"/>
                <a:gd name="connsiteX16" fmla="*/ 329326 w 1367725"/>
                <a:gd name="connsiteY16" fmla="*/ 86528 h 1277222"/>
                <a:gd name="connsiteX17" fmla="*/ 330310 w 1367725"/>
                <a:gd name="connsiteY17" fmla="*/ 74458 h 1277222"/>
                <a:gd name="connsiteX18" fmla="*/ 375105 w 1367725"/>
                <a:gd name="connsiteY18" fmla="*/ 75084 h 1277222"/>
                <a:gd name="connsiteX19" fmla="*/ 381900 w 1367725"/>
                <a:gd name="connsiteY19" fmla="*/ 74458 h 1277222"/>
                <a:gd name="connsiteX20" fmla="*/ 414714 w 1367725"/>
                <a:gd name="connsiteY20" fmla="*/ 69183 h 1277222"/>
                <a:gd name="connsiteX21" fmla="*/ 414536 w 1367725"/>
                <a:gd name="connsiteY21" fmla="*/ 69183 h 1277222"/>
                <a:gd name="connsiteX22" fmla="*/ 440197 w 1367725"/>
                <a:gd name="connsiteY22" fmla="*/ 76604 h 1277222"/>
                <a:gd name="connsiteX23" fmla="*/ 448333 w 1367725"/>
                <a:gd name="connsiteY23" fmla="*/ 95023 h 1277222"/>
                <a:gd name="connsiteX24" fmla="*/ 492771 w 1367725"/>
                <a:gd name="connsiteY24" fmla="*/ 94307 h 1277222"/>
                <a:gd name="connsiteX25" fmla="*/ 517091 w 1367725"/>
                <a:gd name="connsiteY25" fmla="*/ 101639 h 1277222"/>
                <a:gd name="connsiteX26" fmla="*/ 528088 w 1367725"/>
                <a:gd name="connsiteY26" fmla="*/ 87154 h 1277222"/>
                <a:gd name="connsiteX27" fmla="*/ 525495 w 1367725"/>
                <a:gd name="connsiteY27" fmla="*/ 60152 h 1277222"/>
                <a:gd name="connsiteX28" fmla="*/ 558756 w 1367725"/>
                <a:gd name="connsiteY28" fmla="*/ 61314 h 1277222"/>
                <a:gd name="connsiteX29" fmla="*/ 640568 w 1367725"/>
                <a:gd name="connsiteY29" fmla="*/ 107183 h 1277222"/>
                <a:gd name="connsiteX30" fmla="*/ 659255 w 1367725"/>
                <a:gd name="connsiteY30" fmla="*/ 92787 h 1277222"/>
                <a:gd name="connsiteX31" fmla="*/ 688850 w 1367725"/>
                <a:gd name="connsiteY31" fmla="*/ 74816 h 1277222"/>
                <a:gd name="connsiteX32" fmla="*/ 705213 w 1367725"/>
                <a:gd name="connsiteY32" fmla="*/ 69183 h 1277222"/>
                <a:gd name="connsiteX33" fmla="*/ 675886 w 1367725"/>
                <a:gd name="connsiteY33" fmla="*/ 63013 h 1277222"/>
                <a:gd name="connsiteX34" fmla="*/ 664798 w 1367725"/>
                <a:gd name="connsiteY34" fmla="*/ 61761 h 1277222"/>
                <a:gd name="connsiteX35" fmla="*/ 669716 w 1367725"/>
                <a:gd name="connsiteY35" fmla="*/ 33060 h 1277222"/>
                <a:gd name="connsiteX36" fmla="*/ 680982 w 1367725"/>
                <a:gd name="connsiteY36" fmla="*/ 23404 h 1277222"/>
                <a:gd name="connsiteX37" fmla="*/ 726045 w 1367725"/>
                <a:gd name="connsiteY37" fmla="*/ 31451 h 1277222"/>
                <a:gd name="connsiteX38" fmla="*/ 786577 w 1367725"/>
                <a:gd name="connsiteY38" fmla="*/ 51747 h 1277222"/>
                <a:gd name="connsiteX39" fmla="*/ 794266 w 1367725"/>
                <a:gd name="connsiteY39" fmla="*/ 44058 h 1277222"/>
                <a:gd name="connsiteX40" fmla="*/ 828779 w 1367725"/>
                <a:gd name="connsiteY40" fmla="*/ 10529 h 1277222"/>
                <a:gd name="connsiteX41" fmla="*/ 859179 w 1367725"/>
                <a:gd name="connsiteY41" fmla="*/ 2660 h 1277222"/>
                <a:gd name="connsiteX42" fmla="*/ 891635 w 1367725"/>
                <a:gd name="connsiteY42" fmla="*/ 2839 h 1277222"/>
                <a:gd name="connsiteX43" fmla="*/ 895570 w 1367725"/>
                <a:gd name="connsiteY43" fmla="*/ 4449 h 1277222"/>
                <a:gd name="connsiteX44" fmla="*/ 950468 w 1367725"/>
                <a:gd name="connsiteY44" fmla="*/ 9187 h 1277222"/>
                <a:gd name="connsiteX45" fmla="*/ 963791 w 1367725"/>
                <a:gd name="connsiteY45" fmla="*/ 9456 h 1277222"/>
                <a:gd name="connsiteX46" fmla="*/ 1055169 w 1367725"/>
                <a:gd name="connsiteY46" fmla="*/ 9098 h 1277222"/>
                <a:gd name="connsiteX47" fmla="*/ 1059551 w 1367725"/>
                <a:gd name="connsiteY47" fmla="*/ 19470 h 1277222"/>
                <a:gd name="connsiteX48" fmla="*/ 1029240 w 1367725"/>
                <a:gd name="connsiteY48" fmla="*/ 24387 h 1277222"/>
                <a:gd name="connsiteX49" fmla="*/ 932854 w 1367725"/>
                <a:gd name="connsiteY49" fmla="*/ 48886 h 1277222"/>
                <a:gd name="connsiteX50" fmla="*/ 909697 w 1367725"/>
                <a:gd name="connsiteY50" fmla="*/ 58364 h 1277222"/>
                <a:gd name="connsiteX51" fmla="*/ 888685 w 1367725"/>
                <a:gd name="connsiteY51" fmla="*/ 70256 h 1277222"/>
                <a:gd name="connsiteX52" fmla="*/ 916581 w 1367725"/>
                <a:gd name="connsiteY52" fmla="*/ 54161 h 1277222"/>
                <a:gd name="connsiteX53" fmla="*/ 1081278 w 1367725"/>
                <a:gd name="connsiteY53" fmla="*/ 35653 h 1277222"/>
                <a:gd name="connsiteX54" fmla="*/ 1094600 w 1367725"/>
                <a:gd name="connsiteY54" fmla="*/ 36637 h 1277222"/>
                <a:gd name="connsiteX55" fmla="*/ 1108548 w 1367725"/>
                <a:gd name="connsiteY55" fmla="*/ 49154 h 1277222"/>
                <a:gd name="connsiteX56" fmla="*/ 1118383 w 1367725"/>
                <a:gd name="connsiteY56" fmla="*/ 69719 h 1277222"/>
                <a:gd name="connsiteX57" fmla="*/ 1133494 w 1367725"/>
                <a:gd name="connsiteY57" fmla="*/ 81343 h 1277222"/>
                <a:gd name="connsiteX58" fmla="*/ 1109889 w 1367725"/>
                <a:gd name="connsiteY58" fmla="*/ 96006 h 1277222"/>
                <a:gd name="connsiteX59" fmla="*/ 977560 w 1367725"/>
                <a:gd name="connsiteY59" fmla="*/ 102444 h 1277222"/>
                <a:gd name="connsiteX60" fmla="*/ 942690 w 1367725"/>
                <a:gd name="connsiteY60" fmla="*/ 127300 h 1277222"/>
                <a:gd name="connsiteX61" fmla="*/ 1043099 w 1367725"/>
                <a:gd name="connsiteY61" fmla="*/ 108434 h 1277222"/>
                <a:gd name="connsiteX62" fmla="*/ 1067150 w 1367725"/>
                <a:gd name="connsiteY62" fmla="*/ 135079 h 1277222"/>
                <a:gd name="connsiteX63" fmla="*/ 1108101 w 1367725"/>
                <a:gd name="connsiteY63" fmla="*/ 108971 h 1277222"/>
                <a:gd name="connsiteX64" fmla="*/ 1133852 w 1367725"/>
                <a:gd name="connsiteY64" fmla="*/ 94844 h 1277222"/>
                <a:gd name="connsiteX65" fmla="*/ 1144223 w 1367725"/>
                <a:gd name="connsiteY65" fmla="*/ 147775 h 1277222"/>
                <a:gd name="connsiteX66" fmla="*/ 1131527 w 1367725"/>
                <a:gd name="connsiteY66" fmla="*/ 172721 h 1277222"/>
                <a:gd name="connsiteX67" fmla="*/ 1143508 w 1367725"/>
                <a:gd name="connsiteY67" fmla="*/ 174599 h 1277222"/>
                <a:gd name="connsiteX68" fmla="*/ 1160854 w 1367725"/>
                <a:gd name="connsiteY68" fmla="*/ 162618 h 1277222"/>
                <a:gd name="connsiteX69" fmla="*/ 1224694 w 1367725"/>
                <a:gd name="connsiteY69" fmla="*/ 143931 h 1277222"/>
                <a:gd name="connsiteX70" fmla="*/ 1253395 w 1367725"/>
                <a:gd name="connsiteY70" fmla="*/ 134453 h 1277222"/>
                <a:gd name="connsiteX71" fmla="*/ 1273423 w 1367725"/>
                <a:gd name="connsiteY71" fmla="*/ 128999 h 1277222"/>
                <a:gd name="connsiteX72" fmla="*/ 1344684 w 1367725"/>
                <a:gd name="connsiteY72" fmla="*/ 130698 h 1277222"/>
                <a:gd name="connsiteX73" fmla="*/ 1367573 w 1367725"/>
                <a:gd name="connsiteY73" fmla="*/ 147865 h 1277222"/>
                <a:gd name="connsiteX74" fmla="*/ 1344326 w 1367725"/>
                <a:gd name="connsiteY74" fmla="*/ 159667 h 1277222"/>
                <a:gd name="connsiteX75" fmla="*/ 1316430 w 1367725"/>
                <a:gd name="connsiteY75" fmla="*/ 191229 h 1277222"/>
                <a:gd name="connsiteX76" fmla="*/ 1264571 w 1367725"/>
                <a:gd name="connsiteY76" fmla="*/ 212688 h 1277222"/>
                <a:gd name="connsiteX77" fmla="*/ 1264661 w 1367725"/>
                <a:gd name="connsiteY77" fmla="*/ 212688 h 1277222"/>
                <a:gd name="connsiteX78" fmla="*/ 1259564 w 1367725"/>
                <a:gd name="connsiteY78" fmla="*/ 215907 h 1277222"/>
                <a:gd name="connsiteX79" fmla="*/ 1257239 w 1367725"/>
                <a:gd name="connsiteY79" fmla="*/ 227888 h 1277222"/>
                <a:gd name="connsiteX80" fmla="*/ 1244454 w 1367725"/>
                <a:gd name="connsiteY80" fmla="*/ 250778 h 1277222"/>
                <a:gd name="connsiteX81" fmla="*/ 1201447 w 1367725"/>
                <a:gd name="connsiteY81" fmla="*/ 289493 h 1277222"/>
                <a:gd name="connsiteX82" fmla="*/ 1200374 w 1367725"/>
                <a:gd name="connsiteY82" fmla="*/ 333394 h 1277222"/>
                <a:gd name="connsiteX83" fmla="*/ 1221207 w 1367725"/>
                <a:gd name="connsiteY83" fmla="*/ 361380 h 1277222"/>
                <a:gd name="connsiteX84" fmla="*/ 1194025 w 1367725"/>
                <a:gd name="connsiteY84" fmla="*/ 373629 h 1277222"/>
                <a:gd name="connsiteX85" fmla="*/ 1202609 w 1367725"/>
                <a:gd name="connsiteY85" fmla="*/ 380424 h 1277222"/>
                <a:gd name="connsiteX86" fmla="*/ 1211997 w 1367725"/>
                <a:gd name="connsiteY86" fmla="*/ 382838 h 1277222"/>
                <a:gd name="connsiteX87" fmla="*/ 1236854 w 1367725"/>
                <a:gd name="connsiteY87" fmla="*/ 407963 h 1277222"/>
                <a:gd name="connsiteX88" fmla="*/ 1205113 w 1367725"/>
                <a:gd name="connsiteY88" fmla="*/ 428438 h 1277222"/>
                <a:gd name="connsiteX89" fmla="*/ 1153164 w 1367725"/>
                <a:gd name="connsiteY89" fmla="*/ 433624 h 1277222"/>
                <a:gd name="connsiteX90" fmla="*/ 1183207 w 1367725"/>
                <a:gd name="connsiteY90" fmla="*/ 485483 h 1277222"/>
                <a:gd name="connsiteX91" fmla="*/ 1169169 w 1367725"/>
                <a:gd name="connsiteY91" fmla="*/ 511144 h 1277222"/>
                <a:gd name="connsiteX92" fmla="*/ 1173550 w 1367725"/>
                <a:gd name="connsiteY92" fmla="*/ 516687 h 1277222"/>
                <a:gd name="connsiteX93" fmla="*/ 1191790 w 1367725"/>
                <a:gd name="connsiteY93" fmla="*/ 522678 h 1277222"/>
                <a:gd name="connsiteX94" fmla="*/ 1205291 w 1367725"/>
                <a:gd name="connsiteY94" fmla="*/ 541007 h 1277222"/>
                <a:gd name="connsiteX95" fmla="*/ 1177752 w 1367725"/>
                <a:gd name="connsiteY95" fmla="*/ 552989 h 1277222"/>
                <a:gd name="connsiteX96" fmla="*/ 1139663 w 1367725"/>
                <a:gd name="connsiteY96" fmla="*/ 546283 h 1277222"/>
                <a:gd name="connsiteX97" fmla="*/ 1166666 w 1367725"/>
                <a:gd name="connsiteY97" fmla="*/ 558353 h 1277222"/>
                <a:gd name="connsiteX98" fmla="*/ 1159513 w 1367725"/>
                <a:gd name="connsiteY98" fmla="*/ 602165 h 1277222"/>
                <a:gd name="connsiteX99" fmla="*/ 1081993 w 1367725"/>
                <a:gd name="connsiteY99" fmla="*/ 588753 h 1277222"/>
                <a:gd name="connsiteX100" fmla="*/ 1054812 w 1367725"/>
                <a:gd name="connsiteY100" fmla="*/ 598410 h 1277222"/>
                <a:gd name="connsiteX101" fmla="*/ 1016901 w 1367725"/>
                <a:gd name="connsiteY101" fmla="*/ 608066 h 1277222"/>
                <a:gd name="connsiteX102" fmla="*/ 1114986 w 1367725"/>
                <a:gd name="connsiteY102" fmla="*/ 673605 h 1277222"/>
                <a:gd name="connsiteX103" fmla="*/ 1130007 w 1367725"/>
                <a:gd name="connsiteY103" fmla="*/ 742362 h 1277222"/>
                <a:gd name="connsiteX104" fmla="*/ 1109710 w 1367725"/>
                <a:gd name="connsiteY104" fmla="*/ 758546 h 1277222"/>
                <a:gd name="connsiteX105" fmla="*/ 1050341 w 1367725"/>
                <a:gd name="connsiteY105" fmla="*/ 740038 h 1277222"/>
                <a:gd name="connsiteX106" fmla="*/ 1025574 w 1367725"/>
                <a:gd name="connsiteY106" fmla="*/ 702664 h 1277222"/>
                <a:gd name="connsiteX107" fmla="*/ 1008675 w 1367725"/>
                <a:gd name="connsiteY107" fmla="*/ 696852 h 1277222"/>
                <a:gd name="connsiteX108" fmla="*/ 1002506 w 1367725"/>
                <a:gd name="connsiteY108" fmla="*/ 696852 h 1277222"/>
                <a:gd name="connsiteX109" fmla="*/ 1011805 w 1367725"/>
                <a:gd name="connsiteY109" fmla="*/ 697299 h 1277222"/>
                <a:gd name="connsiteX110" fmla="*/ 1029061 w 1367725"/>
                <a:gd name="connsiteY110" fmla="*/ 716075 h 1277222"/>
                <a:gd name="connsiteX111" fmla="*/ 1008944 w 1367725"/>
                <a:gd name="connsiteY111" fmla="*/ 730113 h 1277222"/>
                <a:gd name="connsiteX112" fmla="*/ 979169 w 1367725"/>
                <a:gd name="connsiteY112" fmla="*/ 740485 h 1277222"/>
                <a:gd name="connsiteX113" fmla="*/ 997856 w 1367725"/>
                <a:gd name="connsiteY113" fmla="*/ 765341 h 1277222"/>
                <a:gd name="connsiteX114" fmla="*/ 970586 w 1367725"/>
                <a:gd name="connsiteY114" fmla="*/ 772405 h 1277222"/>
                <a:gd name="connsiteX115" fmla="*/ 999466 w 1367725"/>
                <a:gd name="connsiteY115" fmla="*/ 765520 h 1277222"/>
                <a:gd name="connsiteX116" fmla="*/ 1073141 w 1367725"/>
                <a:gd name="connsiteY116" fmla="*/ 765073 h 1277222"/>
                <a:gd name="connsiteX117" fmla="*/ 1073141 w 1367725"/>
                <a:gd name="connsiteY117" fmla="*/ 783492 h 1277222"/>
                <a:gd name="connsiteX118" fmla="*/ 976934 w 1367725"/>
                <a:gd name="connsiteY118" fmla="*/ 859849 h 1277222"/>
                <a:gd name="connsiteX119" fmla="*/ 944210 w 1367725"/>
                <a:gd name="connsiteY119" fmla="*/ 865840 h 1277222"/>
                <a:gd name="connsiteX120" fmla="*/ 910680 w 1367725"/>
                <a:gd name="connsiteY120" fmla="*/ 864946 h 1277222"/>
                <a:gd name="connsiteX121" fmla="*/ 904958 w 1367725"/>
                <a:gd name="connsiteY121" fmla="*/ 867002 h 1277222"/>
                <a:gd name="connsiteX122" fmla="*/ 859358 w 1367725"/>
                <a:gd name="connsiteY122" fmla="*/ 878983 h 1277222"/>
                <a:gd name="connsiteX123" fmla="*/ 767353 w 1367725"/>
                <a:gd name="connsiteY123" fmla="*/ 991642 h 1277222"/>
                <a:gd name="connsiteX124" fmla="*/ 715584 w 1367725"/>
                <a:gd name="connsiteY124" fmla="*/ 1006931 h 1277222"/>
                <a:gd name="connsiteX125" fmla="*/ 703246 w 1367725"/>
                <a:gd name="connsiteY125" fmla="*/ 994861 h 1277222"/>
                <a:gd name="connsiteX126" fmla="*/ 704050 w 1367725"/>
                <a:gd name="connsiteY126" fmla="*/ 983774 h 1277222"/>
                <a:gd name="connsiteX127" fmla="*/ 699580 w 1367725"/>
                <a:gd name="connsiteY127" fmla="*/ 995933 h 1277222"/>
                <a:gd name="connsiteX128" fmla="*/ 673382 w 1367725"/>
                <a:gd name="connsiteY128" fmla="*/ 1018644 h 1277222"/>
                <a:gd name="connsiteX129" fmla="*/ 643876 w 1367725"/>
                <a:gd name="connsiteY129" fmla="*/ 1039030 h 1277222"/>
                <a:gd name="connsiteX130" fmla="*/ 641373 w 1367725"/>
                <a:gd name="connsiteY130" fmla="*/ 1059863 h 1277222"/>
                <a:gd name="connsiteX131" fmla="*/ 636813 w 1367725"/>
                <a:gd name="connsiteY131" fmla="*/ 1066658 h 1277222"/>
                <a:gd name="connsiteX132" fmla="*/ 626083 w 1367725"/>
                <a:gd name="connsiteY132" fmla="*/ 1091872 h 1277222"/>
                <a:gd name="connsiteX133" fmla="*/ 587636 w 1367725"/>
                <a:gd name="connsiteY133" fmla="*/ 1168855 h 1277222"/>
                <a:gd name="connsiteX134" fmla="*/ 542662 w 1367725"/>
                <a:gd name="connsiteY134" fmla="*/ 1270963 h 1277222"/>
                <a:gd name="connsiteX135" fmla="*/ 531843 w 1367725"/>
                <a:gd name="connsiteY135" fmla="*/ 1277222 h 1277222"/>
                <a:gd name="connsiteX136" fmla="*/ 491340 w 1367725"/>
                <a:gd name="connsiteY136" fmla="*/ 1266493 h 1277222"/>
                <a:gd name="connsiteX137" fmla="*/ 465232 w 1367725"/>
                <a:gd name="connsiteY137" fmla="*/ 1242173 h 1277222"/>
                <a:gd name="connsiteX138" fmla="*/ 462639 w 1367725"/>
                <a:gd name="connsiteY138" fmla="*/ 1234126 h 1277222"/>
                <a:gd name="connsiteX139" fmla="*/ 443952 w 1367725"/>
                <a:gd name="connsiteY139" fmla="*/ 1232069 h 1277222"/>
                <a:gd name="connsiteX140" fmla="*/ 416771 w 1367725"/>
                <a:gd name="connsiteY140" fmla="*/ 1225453 h 1277222"/>
                <a:gd name="connsiteX141" fmla="*/ 361067 w 1367725"/>
                <a:gd name="connsiteY141" fmla="*/ 1129961 h 1277222"/>
                <a:gd name="connsiteX142" fmla="*/ 348550 w 1367725"/>
                <a:gd name="connsiteY142" fmla="*/ 1107698 h 1277222"/>
                <a:gd name="connsiteX143" fmla="*/ 354898 w 1367725"/>
                <a:gd name="connsiteY143" fmla="*/ 1054409 h 1277222"/>
                <a:gd name="connsiteX144" fmla="*/ 345599 w 1367725"/>
                <a:gd name="connsiteY144" fmla="*/ 1034023 h 1277222"/>
                <a:gd name="connsiteX145" fmla="*/ 337016 w 1367725"/>
                <a:gd name="connsiteY145" fmla="*/ 991374 h 1277222"/>
                <a:gd name="connsiteX146" fmla="*/ 332277 w 1367725"/>
                <a:gd name="connsiteY146" fmla="*/ 981538 h 1277222"/>
                <a:gd name="connsiteX147" fmla="*/ 310818 w 1367725"/>
                <a:gd name="connsiteY147" fmla="*/ 972061 h 1277222"/>
                <a:gd name="connsiteX148" fmla="*/ 338893 w 1367725"/>
                <a:gd name="connsiteY148" fmla="*/ 934329 h 1277222"/>
                <a:gd name="connsiteX149" fmla="*/ 358653 w 1367725"/>
                <a:gd name="connsiteY149" fmla="*/ 929590 h 1277222"/>
                <a:gd name="connsiteX150" fmla="*/ 330041 w 1367725"/>
                <a:gd name="connsiteY150" fmla="*/ 936028 h 1277222"/>
                <a:gd name="connsiteX151" fmla="*/ 307242 w 1367725"/>
                <a:gd name="connsiteY151" fmla="*/ 920560 h 1277222"/>
                <a:gd name="connsiteX152" fmla="*/ 330936 w 1367725"/>
                <a:gd name="connsiteY152" fmla="*/ 899548 h 1277222"/>
                <a:gd name="connsiteX153" fmla="*/ 349980 w 1367725"/>
                <a:gd name="connsiteY153" fmla="*/ 899548 h 1277222"/>
                <a:gd name="connsiteX154" fmla="*/ 332992 w 1367725"/>
                <a:gd name="connsiteY154" fmla="*/ 888193 h 1277222"/>
                <a:gd name="connsiteX155" fmla="*/ 342917 w 1367725"/>
                <a:gd name="connsiteY155" fmla="*/ 874513 h 1277222"/>
                <a:gd name="connsiteX156" fmla="*/ 349623 w 1367725"/>
                <a:gd name="connsiteY156" fmla="*/ 872188 h 1277222"/>
                <a:gd name="connsiteX157" fmla="*/ 338178 w 1367725"/>
                <a:gd name="connsiteY157" fmla="*/ 869774 h 1277222"/>
                <a:gd name="connsiteX158" fmla="*/ 338536 w 1367725"/>
                <a:gd name="connsiteY158" fmla="*/ 850640 h 1277222"/>
                <a:gd name="connsiteX159" fmla="*/ 365270 w 1367725"/>
                <a:gd name="connsiteY159" fmla="*/ 839910 h 1277222"/>
                <a:gd name="connsiteX160" fmla="*/ 385119 w 1367725"/>
                <a:gd name="connsiteY160" fmla="*/ 819346 h 1277222"/>
                <a:gd name="connsiteX161" fmla="*/ 383957 w 1367725"/>
                <a:gd name="connsiteY161" fmla="*/ 811388 h 1277222"/>
                <a:gd name="connsiteX162" fmla="*/ 412390 w 1367725"/>
                <a:gd name="connsiteY162" fmla="*/ 755059 h 1277222"/>
                <a:gd name="connsiteX163" fmla="*/ 329058 w 1367725"/>
                <a:gd name="connsiteY163" fmla="*/ 733242 h 1277222"/>
                <a:gd name="connsiteX164" fmla="*/ 336926 w 1367725"/>
                <a:gd name="connsiteY164" fmla="*/ 709727 h 1277222"/>
                <a:gd name="connsiteX165" fmla="*/ 370813 w 1367725"/>
                <a:gd name="connsiteY165" fmla="*/ 715002 h 1277222"/>
                <a:gd name="connsiteX166" fmla="*/ 390305 w 1367725"/>
                <a:gd name="connsiteY166" fmla="*/ 708833 h 1277222"/>
                <a:gd name="connsiteX167" fmla="*/ 386997 w 1367725"/>
                <a:gd name="connsiteY167" fmla="*/ 701591 h 1277222"/>
                <a:gd name="connsiteX168" fmla="*/ 367594 w 1367725"/>
                <a:gd name="connsiteY168" fmla="*/ 670744 h 1277222"/>
                <a:gd name="connsiteX169" fmla="*/ 363124 w 1367725"/>
                <a:gd name="connsiteY169" fmla="*/ 665021 h 1277222"/>
                <a:gd name="connsiteX170" fmla="*/ 349354 w 1367725"/>
                <a:gd name="connsiteY170" fmla="*/ 687017 h 1277222"/>
                <a:gd name="connsiteX171" fmla="*/ 317971 w 1367725"/>
                <a:gd name="connsiteY171" fmla="*/ 689162 h 1277222"/>
                <a:gd name="connsiteX172" fmla="*/ 315646 w 1367725"/>
                <a:gd name="connsiteY172" fmla="*/ 637840 h 1277222"/>
                <a:gd name="connsiteX173" fmla="*/ 341307 w 1367725"/>
                <a:gd name="connsiteY173" fmla="*/ 598767 h 1277222"/>
                <a:gd name="connsiteX174" fmla="*/ 335764 w 1367725"/>
                <a:gd name="connsiteY174" fmla="*/ 585892 h 1277222"/>
                <a:gd name="connsiteX175" fmla="*/ 323604 w 1367725"/>
                <a:gd name="connsiteY175" fmla="*/ 561751 h 1277222"/>
                <a:gd name="connsiteX176" fmla="*/ 292131 w 1367725"/>
                <a:gd name="connsiteY176" fmla="*/ 508640 h 1277222"/>
                <a:gd name="connsiteX177" fmla="*/ 279166 w 1367725"/>
                <a:gd name="connsiteY177" fmla="*/ 487092 h 1277222"/>
                <a:gd name="connsiteX178" fmla="*/ 272818 w 1367725"/>
                <a:gd name="connsiteY178" fmla="*/ 447751 h 1277222"/>
                <a:gd name="connsiteX179" fmla="*/ 211392 w 1367725"/>
                <a:gd name="connsiteY179" fmla="*/ 415205 h 1277222"/>
                <a:gd name="connsiteX180" fmla="*/ 194941 w 1367725"/>
                <a:gd name="connsiteY180" fmla="*/ 407963 h 1277222"/>
                <a:gd name="connsiteX181" fmla="*/ 170800 w 1367725"/>
                <a:gd name="connsiteY181" fmla="*/ 401794 h 1277222"/>
                <a:gd name="connsiteX182" fmla="*/ 104456 w 1367725"/>
                <a:gd name="connsiteY182" fmla="*/ 417977 h 1277222"/>
                <a:gd name="connsiteX183" fmla="*/ 60019 w 1367725"/>
                <a:gd name="connsiteY183" fmla="*/ 401168 h 1277222"/>
                <a:gd name="connsiteX184" fmla="*/ 30602 w 1367725"/>
                <a:gd name="connsiteY184" fmla="*/ 382838 h 1277222"/>
                <a:gd name="connsiteX185" fmla="*/ 47769 w 1367725"/>
                <a:gd name="connsiteY185" fmla="*/ 362095 h 1277222"/>
                <a:gd name="connsiteX186" fmla="*/ 61896 w 1367725"/>
                <a:gd name="connsiteY186" fmla="*/ 352081 h 1277222"/>
                <a:gd name="connsiteX187" fmla="*/ 47859 w 1367725"/>
                <a:gd name="connsiteY187" fmla="*/ 350829 h 1277222"/>
                <a:gd name="connsiteX188" fmla="*/ 6908 w 1367725"/>
                <a:gd name="connsiteY188" fmla="*/ 319088 h 1277222"/>
                <a:gd name="connsiteX189" fmla="*/ 59571 w 1367725"/>
                <a:gd name="connsiteY189" fmla="*/ 325794 h 1277222"/>
                <a:gd name="connsiteX190" fmla="*/ 70033 w 1367725"/>
                <a:gd name="connsiteY190" fmla="*/ 318999 h 1277222"/>
                <a:gd name="connsiteX191" fmla="*/ 61181 w 1367725"/>
                <a:gd name="connsiteY191" fmla="*/ 311041 h 1277222"/>
                <a:gd name="connsiteX192" fmla="*/ 87826 w 1367725"/>
                <a:gd name="connsiteY192" fmla="*/ 294679 h 1277222"/>
                <a:gd name="connsiteX193" fmla="*/ 116527 w 1367725"/>
                <a:gd name="connsiteY193" fmla="*/ 293516 h 1277222"/>
                <a:gd name="connsiteX194" fmla="*/ 83891 w 1367725"/>
                <a:gd name="connsiteY194" fmla="*/ 294857 h 1277222"/>
                <a:gd name="connsiteX195" fmla="*/ 41689 w 1367725"/>
                <a:gd name="connsiteY195" fmla="*/ 296824 h 12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367725" h="1277222">
                  <a:moveTo>
                    <a:pt x="41779" y="296914"/>
                  </a:moveTo>
                  <a:cubicBezTo>
                    <a:pt x="39096" y="282787"/>
                    <a:pt x="26936" y="279568"/>
                    <a:pt x="16296" y="274203"/>
                  </a:cubicBezTo>
                  <a:cubicBezTo>
                    <a:pt x="-5699" y="263116"/>
                    <a:pt x="-5252" y="252029"/>
                    <a:pt x="16565" y="240942"/>
                  </a:cubicBezTo>
                  <a:cubicBezTo>
                    <a:pt x="33553" y="232359"/>
                    <a:pt x="49915" y="221898"/>
                    <a:pt x="70390" y="226815"/>
                  </a:cubicBezTo>
                  <a:cubicBezTo>
                    <a:pt x="78169" y="228693"/>
                    <a:pt x="87647" y="229498"/>
                    <a:pt x="91581" y="222702"/>
                  </a:cubicBezTo>
                  <a:cubicBezTo>
                    <a:pt x="102578" y="203658"/>
                    <a:pt x="119299" y="205267"/>
                    <a:pt x="134230" y="211883"/>
                  </a:cubicBezTo>
                  <a:cubicBezTo>
                    <a:pt x="162127" y="224222"/>
                    <a:pt x="169369" y="186848"/>
                    <a:pt x="196818" y="193196"/>
                  </a:cubicBezTo>
                  <a:cubicBezTo>
                    <a:pt x="184211" y="176834"/>
                    <a:pt x="174734" y="175493"/>
                    <a:pt x="161948" y="185149"/>
                  </a:cubicBezTo>
                  <a:cubicBezTo>
                    <a:pt x="148536" y="195342"/>
                    <a:pt x="138880" y="190872"/>
                    <a:pt x="131101" y="175851"/>
                  </a:cubicBezTo>
                  <a:cubicBezTo>
                    <a:pt x="120818" y="156001"/>
                    <a:pt x="136913" y="156627"/>
                    <a:pt x="147284" y="153408"/>
                  </a:cubicBezTo>
                  <a:cubicBezTo>
                    <a:pt x="170621" y="146255"/>
                    <a:pt x="186804" y="114425"/>
                    <a:pt x="217472" y="132933"/>
                  </a:cubicBezTo>
                  <a:cubicBezTo>
                    <a:pt x="225341" y="112637"/>
                    <a:pt x="237948" y="116392"/>
                    <a:pt x="252254" y="125512"/>
                  </a:cubicBezTo>
                  <a:cubicBezTo>
                    <a:pt x="253148" y="126048"/>
                    <a:pt x="261016" y="119790"/>
                    <a:pt x="260658" y="117554"/>
                  </a:cubicBezTo>
                  <a:cubicBezTo>
                    <a:pt x="254131" y="77945"/>
                    <a:pt x="284442" y="81074"/>
                    <a:pt x="307868" y="76246"/>
                  </a:cubicBezTo>
                  <a:cubicBezTo>
                    <a:pt x="315468" y="77856"/>
                    <a:pt x="322352" y="80806"/>
                    <a:pt x="327270" y="87154"/>
                  </a:cubicBezTo>
                  <a:cubicBezTo>
                    <a:pt x="329505" y="89479"/>
                    <a:pt x="331562" y="91983"/>
                    <a:pt x="332992" y="94933"/>
                  </a:cubicBezTo>
                  <a:cubicBezTo>
                    <a:pt x="334512" y="90999"/>
                    <a:pt x="330578" y="89300"/>
                    <a:pt x="329326" y="86528"/>
                  </a:cubicBezTo>
                  <a:cubicBezTo>
                    <a:pt x="327449" y="82147"/>
                    <a:pt x="327449" y="78303"/>
                    <a:pt x="330310" y="74458"/>
                  </a:cubicBezTo>
                  <a:cubicBezTo>
                    <a:pt x="345331" y="71418"/>
                    <a:pt x="360263" y="70345"/>
                    <a:pt x="375105" y="75084"/>
                  </a:cubicBezTo>
                  <a:cubicBezTo>
                    <a:pt x="377340" y="74905"/>
                    <a:pt x="379665" y="74637"/>
                    <a:pt x="381900" y="74458"/>
                  </a:cubicBezTo>
                  <a:cubicBezTo>
                    <a:pt x="392272" y="68914"/>
                    <a:pt x="404700" y="76336"/>
                    <a:pt x="414714" y="69183"/>
                  </a:cubicBezTo>
                  <a:lnTo>
                    <a:pt x="414536" y="69183"/>
                  </a:lnTo>
                  <a:cubicBezTo>
                    <a:pt x="425712" y="62477"/>
                    <a:pt x="434206" y="65070"/>
                    <a:pt x="440197" y="76604"/>
                  </a:cubicBezTo>
                  <a:cubicBezTo>
                    <a:pt x="438587" y="84651"/>
                    <a:pt x="443594" y="89747"/>
                    <a:pt x="448333" y="95023"/>
                  </a:cubicBezTo>
                  <a:cubicBezTo>
                    <a:pt x="463175" y="95917"/>
                    <a:pt x="477839" y="87154"/>
                    <a:pt x="492771" y="94307"/>
                  </a:cubicBezTo>
                  <a:cubicBezTo>
                    <a:pt x="500907" y="96811"/>
                    <a:pt x="508865" y="100030"/>
                    <a:pt x="517091" y="101639"/>
                  </a:cubicBezTo>
                  <a:cubicBezTo>
                    <a:pt x="529340" y="103964"/>
                    <a:pt x="537923" y="100834"/>
                    <a:pt x="528088" y="87154"/>
                  </a:cubicBezTo>
                  <a:cubicBezTo>
                    <a:pt x="521382" y="77856"/>
                    <a:pt x="512799" y="69093"/>
                    <a:pt x="525495" y="60152"/>
                  </a:cubicBezTo>
                  <a:cubicBezTo>
                    <a:pt x="535688" y="52910"/>
                    <a:pt x="548653" y="53804"/>
                    <a:pt x="558756" y="61314"/>
                  </a:cubicBezTo>
                  <a:cubicBezTo>
                    <a:pt x="583881" y="80001"/>
                    <a:pt x="622686" y="74100"/>
                    <a:pt x="640568" y="107183"/>
                  </a:cubicBezTo>
                  <a:cubicBezTo>
                    <a:pt x="642177" y="110133"/>
                    <a:pt x="665961" y="120862"/>
                    <a:pt x="659255" y="92787"/>
                  </a:cubicBezTo>
                  <a:cubicBezTo>
                    <a:pt x="654963" y="74726"/>
                    <a:pt x="682770" y="88048"/>
                    <a:pt x="688850" y="74816"/>
                  </a:cubicBezTo>
                  <a:cubicBezTo>
                    <a:pt x="694930" y="68825"/>
                    <a:pt x="702262" y="69004"/>
                    <a:pt x="705213" y="69183"/>
                  </a:cubicBezTo>
                  <a:cubicBezTo>
                    <a:pt x="698507" y="67841"/>
                    <a:pt x="686615" y="68199"/>
                    <a:pt x="675886" y="63013"/>
                  </a:cubicBezTo>
                  <a:cubicBezTo>
                    <a:pt x="672220" y="62566"/>
                    <a:pt x="668464" y="62119"/>
                    <a:pt x="664798" y="61761"/>
                  </a:cubicBezTo>
                  <a:cubicBezTo>
                    <a:pt x="653622" y="49959"/>
                    <a:pt x="644144" y="38336"/>
                    <a:pt x="669716" y="33060"/>
                  </a:cubicBezTo>
                  <a:cubicBezTo>
                    <a:pt x="675617" y="31809"/>
                    <a:pt x="679104" y="28769"/>
                    <a:pt x="680982" y="23404"/>
                  </a:cubicBezTo>
                  <a:cubicBezTo>
                    <a:pt x="697702" y="15804"/>
                    <a:pt x="712991" y="3197"/>
                    <a:pt x="726045" y="31451"/>
                  </a:cubicBezTo>
                  <a:cubicBezTo>
                    <a:pt x="737401" y="56129"/>
                    <a:pt x="764224" y="50943"/>
                    <a:pt x="786577" y="51747"/>
                  </a:cubicBezTo>
                  <a:cubicBezTo>
                    <a:pt x="791405" y="51926"/>
                    <a:pt x="796055" y="48529"/>
                    <a:pt x="794266" y="44058"/>
                  </a:cubicBezTo>
                  <a:cubicBezTo>
                    <a:pt x="778262" y="4180"/>
                    <a:pt x="811970" y="15983"/>
                    <a:pt x="828779" y="10529"/>
                  </a:cubicBezTo>
                  <a:cubicBezTo>
                    <a:pt x="838704" y="7310"/>
                    <a:pt x="848986" y="5253"/>
                    <a:pt x="859179" y="2660"/>
                  </a:cubicBezTo>
                  <a:cubicBezTo>
                    <a:pt x="869998" y="-737"/>
                    <a:pt x="880817" y="-1095"/>
                    <a:pt x="891635" y="2839"/>
                  </a:cubicBezTo>
                  <a:cubicBezTo>
                    <a:pt x="892351" y="4717"/>
                    <a:pt x="893692" y="5253"/>
                    <a:pt x="895570" y="4449"/>
                  </a:cubicBezTo>
                  <a:cubicBezTo>
                    <a:pt x="913452" y="10618"/>
                    <a:pt x="932586" y="3197"/>
                    <a:pt x="950468" y="9187"/>
                  </a:cubicBezTo>
                  <a:cubicBezTo>
                    <a:pt x="954939" y="9277"/>
                    <a:pt x="959320" y="9366"/>
                    <a:pt x="963791" y="9456"/>
                  </a:cubicBezTo>
                  <a:cubicBezTo>
                    <a:pt x="994191" y="4449"/>
                    <a:pt x="1024680" y="5790"/>
                    <a:pt x="1055169" y="9098"/>
                  </a:cubicBezTo>
                  <a:cubicBezTo>
                    <a:pt x="1057673" y="12406"/>
                    <a:pt x="1071264" y="13122"/>
                    <a:pt x="1059551" y="19470"/>
                  </a:cubicBezTo>
                  <a:cubicBezTo>
                    <a:pt x="1051056" y="24030"/>
                    <a:pt x="1039522" y="22957"/>
                    <a:pt x="1029240" y="24387"/>
                  </a:cubicBezTo>
                  <a:cubicBezTo>
                    <a:pt x="999466" y="41823"/>
                    <a:pt x="965669" y="43611"/>
                    <a:pt x="932854" y="48886"/>
                  </a:cubicBezTo>
                  <a:cubicBezTo>
                    <a:pt x="923913" y="50317"/>
                    <a:pt x="915866" y="51390"/>
                    <a:pt x="909697" y="58364"/>
                  </a:cubicBezTo>
                  <a:cubicBezTo>
                    <a:pt x="904690" y="62387"/>
                    <a:pt x="899504" y="66321"/>
                    <a:pt x="888685" y="70256"/>
                  </a:cubicBezTo>
                  <a:cubicBezTo>
                    <a:pt x="903170" y="67216"/>
                    <a:pt x="908892" y="59079"/>
                    <a:pt x="916581" y="54161"/>
                  </a:cubicBezTo>
                  <a:cubicBezTo>
                    <a:pt x="971122" y="44505"/>
                    <a:pt x="1024412" y="23940"/>
                    <a:pt x="1081278" y="35653"/>
                  </a:cubicBezTo>
                  <a:cubicBezTo>
                    <a:pt x="1085569" y="37889"/>
                    <a:pt x="1089682" y="42270"/>
                    <a:pt x="1094600" y="36637"/>
                  </a:cubicBezTo>
                  <a:cubicBezTo>
                    <a:pt x="1109084" y="29842"/>
                    <a:pt x="1111409" y="36637"/>
                    <a:pt x="1108548" y="49154"/>
                  </a:cubicBezTo>
                  <a:cubicBezTo>
                    <a:pt x="1104435" y="59526"/>
                    <a:pt x="1103094" y="68825"/>
                    <a:pt x="1118383" y="69719"/>
                  </a:cubicBezTo>
                  <a:cubicBezTo>
                    <a:pt x="1126341" y="70166"/>
                    <a:pt x="1133852" y="70434"/>
                    <a:pt x="1133494" y="81343"/>
                  </a:cubicBezTo>
                  <a:cubicBezTo>
                    <a:pt x="1128845" y="91357"/>
                    <a:pt x="1120172" y="95559"/>
                    <a:pt x="1109889" y="96006"/>
                  </a:cubicBezTo>
                  <a:cubicBezTo>
                    <a:pt x="1065720" y="98152"/>
                    <a:pt x="1022266" y="115319"/>
                    <a:pt x="977560" y="102444"/>
                  </a:cubicBezTo>
                  <a:cubicBezTo>
                    <a:pt x="953508" y="95470"/>
                    <a:pt x="954671" y="126853"/>
                    <a:pt x="942690" y="127300"/>
                  </a:cubicBezTo>
                  <a:cubicBezTo>
                    <a:pt x="971212" y="116928"/>
                    <a:pt x="1007155" y="112190"/>
                    <a:pt x="1043099" y="108434"/>
                  </a:cubicBezTo>
                  <a:cubicBezTo>
                    <a:pt x="1061607" y="106467"/>
                    <a:pt x="1077701" y="109328"/>
                    <a:pt x="1067150" y="135079"/>
                  </a:cubicBezTo>
                  <a:cubicBezTo>
                    <a:pt x="1085659" y="133827"/>
                    <a:pt x="1100501" y="127747"/>
                    <a:pt x="1108101" y="108971"/>
                  </a:cubicBezTo>
                  <a:cubicBezTo>
                    <a:pt x="1112482" y="98152"/>
                    <a:pt x="1120976" y="91625"/>
                    <a:pt x="1133852" y="94844"/>
                  </a:cubicBezTo>
                  <a:cubicBezTo>
                    <a:pt x="1171852" y="112726"/>
                    <a:pt x="1172745" y="119253"/>
                    <a:pt x="1144223" y="147775"/>
                  </a:cubicBezTo>
                  <a:cubicBezTo>
                    <a:pt x="1137965" y="154034"/>
                    <a:pt x="1135640" y="164317"/>
                    <a:pt x="1131527" y="172721"/>
                  </a:cubicBezTo>
                  <a:cubicBezTo>
                    <a:pt x="1132332" y="193107"/>
                    <a:pt x="1140558" y="167535"/>
                    <a:pt x="1143508" y="174599"/>
                  </a:cubicBezTo>
                  <a:cubicBezTo>
                    <a:pt x="1149320" y="170665"/>
                    <a:pt x="1155668" y="167267"/>
                    <a:pt x="1160854" y="162618"/>
                  </a:cubicBezTo>
                  <a:cubicBezTo>
                    <a:pt x="1179183" y="146345"/>
                    <a:pt x="1192327" y="116750"/>
                    <a:pt x="1224694" y="143931"/>
                  </a:cubicBezTo>
                  <a:cubicBezTo>
                    <a:pt x="1232383" y="150368"/>
                    <a:pt x="1248567" y="155554"/>
                    <a:pt x="1253395" y="134453"/>
                  </a:cubicBezTo>
                  <a:cubicBezTo>
                    <a:pt x="1255362" y="126048"/>
                    <a:pt x="1266270" y="128999"/>
                    <a:pt x="1273423" y="128999"/>
                  </a:cubicBezTo>
                  <a:cubicBezTo>
                    <a:pt x="1297206" y="128999"/>
                    <a:pt x="1321169" y="128194"/>
                    <a:pt x="1344684" y="130698"/>
                  </a:cubicBezTo>
                  <a:cubicBezTo>
                    <a:pt x="1353536" y="131681"/>
                    <a:pt x="1369451" y="134006"/>
                    <a:pt x="1367573" y="147865"/>
                  </a:cubicBezTo>
                  <a:cubicBezTo>
                    <a:pt x="1366500" y="155554"/>
                    <a:pt x="1354430" y="159041"/>
                    <a:pt x="1344326" y="159667"/>
                  </a:cubicBezTo>
                  <a:cubicBezTo>
                    <a:pt x="1325013" y="160829"/>
                    <a:pt x="1314821" y="171112"/>
                    <a:pt x="1316430" y="191229"/>
                  </a:cubicBezTo>
                  <a:cubicBezTo>
                    <a:pt x="1296223" y="203747"/>
                    <a:pt x="1290054" y="201243"/>
                    <a:pt x="1264571" y="212688"/>
                  </a:cubicBezTo>
                  <a:lnTo>
                    <a:pt x="1264661" y="212688"/>
                  </a:lnTo>
                  <a:cubicBezTo>
                    <a:pt x="1263141" y="214029"/>
                    <a:pt x="1261531" y="215192"/>
                    <a:pt x="1259564" y="215907"/>
                  </a:cubicBezTo>
                  <a:cubicBezTo>
                    <a:pt x="1251938" y="218589"/>
                    <a:pt x="1251160" y="222583"/>
                    <a:pt x="1257239" y="227888"/>
                  </a:cubicBezTo>
                  <a:cubicBezTo>
                    <a:pt x="1252948" y="235488"/>
                    <a:pt x="1248745" y="243178"/>
                    <a:pt x="1244454" y="250778"/>
                  </a:cubicBezTo>
                  <a:cubicBezTo>
                    <a:pt x="1230952" y="264636"/>
                    <a:pt x="1216557" y="277512"/>
                    <a:pt x="1201447" y="289493"/>
                  </a:cubicBezTo>
                  <a:cubicBezTo>
                    <a:pt x="1182849" y="304156"/>
                    <a:pt x="1179630" y="318194"/>
                    <a:pt x="1200374" y="333394"/>
                  </a:cubicBezTo>
                  <a:cubicBezTo>
                    <a:pt x="1210120" y="340547"/>
                    <a:pt x="1218077" y="349130"/>
                    <a:pt x="1221207" y="361380"/>
                  </a:cubicBezTo>
                  <a:cubicBezTo>
                    <a:pt x="1219508" y="382481"/>
                    <a:pt x="1206990" y="378815"/>
                    <a:pt x="1194025" y="373629"/>
                  </a:cubicBezTo>
                  <a:cubicBezTo>
                    <a:pt x="1194025" y="379709"/>
                    <a:pt x="1200195" y="377653"/>
                    <a:pt x="1202609" y="380424"/>
                  </a:cubicBezTo>
                  <a:cubicBezTo>
                    <a:pt x="1205560" y="382034"/>
                    <a:pt x="1208689" y="382749"/>
                    <a:pt x="1211997" y="382838"/>
                  </a:cubicBezTo>
                  <a:cubicBezTo>
                    <a:pt x="1228181" y="383464"/>
                    <a:pt x="1240341" y="389008"/>
                    <a:pt x="1236854" y="407963"/>
                  </a:cubicBezTo>
                  <a:cubicBezTo>
                    <a:pt x="1233724" y="424951"/>
                    <a:pt x="1220402" y="430048"/>
                    <a:pt x="1205113" y="428438"/>
                  </a:cubicBezTo>
                  <a:cubicBezTo>
                    <a:pt x="1188303" y="426650"/>
                    <a:pt x="1171494" y="419676"/>
                    <a:pt x="1153164" y="433624"/>
                  </a:cubicBezTo>
                  <a:cubicBezTo>
                    <a:pt x="1176680" y="443728"/>
                    <a:pt x="1190360" y="459285"/>
                    <a:pt x="1183207" y="485483"/>
                  </a:cubicBezTo>
                  <a:cubicBezTo>
                    <a:pt x="1184458" y="497285"/>
                    <a:pt x="1166308" y="498537"/>
                    <a:pt x="1169169" y="511144"/>
                  </a:cubicBezTo>
                  <a:cubicBezTo>
                    <a:pt x="1170421" y="513200"/>
                    <a:pt x="1171852" y="515078"/>
                    <a:pt x="1173550" y="516687"/>
                  </a:cubicBezTo>
                  <a:cubicBezTo>
                    <a:pt x="1179094" y="520264"/>
                    <a:pt x="1185710" y="520532"/>
                    <a:pt x="1191790" y="522678"/>
                  </a:cubicBezTo>
                  <a:cubicBezTo>
                    <a:pt x="1199211" y="526702"/>
                    <a:pt x="1209762" y="529831"/>
                    <a:pt x="1205291" y="541007"/>
                  </a:cubicBezTo>
                  <a:cubicBezTo>
                    <a:pt x="1200553" y="552899"/>
                    <a:pt x="1188840" y="552452"/>
                    <a:pt x="1177752" y="552989"/>
                  </a:cubicBezTo>
                  <a:cubicBezTo>
                    <a:pt x="1164252" y="553704"/>
                    <a:pt x="1154684" y="533765"/>
                    <a:pt x="1139663" y="546283"/>
                  </a:cubicBezTo>
                  <a:cubicBezTo>
                    <a:pt x="1145922" y="556744"/>
                    <a:pt x="1159602" y="550127"/>
                    <a:pt x="1166666" y="558353"/>
                  </a:cubicBezTo>
                  <a:cubicBezTo>
                    <a:pt x="1178110" y="575252"/>
                    <a:pt x="1175696" y="589826"/>
                    <a:pt x="1159513" y="602165"/>
                  </a:cubicBezTo>
                  <a:cubicBezTo>
                    <a:pt x="1130633" y="615577"/>
                    <a:pt x="1107386" y="595906"/>
                    <a:pt x="1081993" y="588753"/>
                  </a:cubicBezTo>
                  <a:cubicBezTo>
                    <a:pt x="1070816" y="585624"/>
                    <a:pt x="1060176" y="575520"/>
                    <a:pt x="1054812" y="598410"/>
                  </a:cubicBezTo>
                  <a:cubicBezTo>
                    <a:pt x="1051593" y="612358"/>
                    <a:pt x="1032816" y="612268"/>
                    <a:pt x="1016901" y="608066"/>
                  </a:cubicBezTo>
                  <a:cubicBezTo>
                    <a:pt x="1040238" y="646424"/>
                    <a:pt x="1082082" y="653308"/>
                    <a:pt x="1114986" y="673605"/>
                  </a:cubicBezTo>
                  <a:cubicBezTo>
                    <a:pt x="1139127" y="692202"/>
                    <a:pt x="1131706" y="718311"/>
                    <a:pt x="1130007" y="742362"/>
                  </a:cubicBezTo>
                  <a:cubicBezTo>
                    <a:pt x="1129292" y="752287"/>
                    <a:pt x="1121334" y="761049"/>
                    <a:pt x="1109710" y="758546"/>
                  </a:cubicBezTo>
                  <a:cubicBezTo>
                    <a:pt x="1089414" y="754165"/>
                    <a:pt x="1061965" y="770080"/>
                    <a:pt x="1050341" y="740038"/>
                  </a:cubicBezTo>
                  <a:cubicBezTo>
                    <a:pt x="1044708" y="725463"/>
                    <a:pt x="1035499" y="714019"/>
                    <a:pt x="1025574" y="702664"/>
                  </a:cubicBezTo>
                  <a:cubicBezTo>
                    <a:pt x="1021104" y="697209"/>
                    <a:pt x="1014934" y="696941"/>
                    <a:pt x="1008675" y="696852"/>
                  </a:cubicBezTo>
                  <a:cubicBezTo>
                    <a:pt x="1006619" y="696852"/>
                    <a:pt x="1004562" y="696852"/>
                    <a:pt x="1002506" y="696852"/>
                  </a:cubicBezTo>
                  <a:cubicBezTo>
                    <a:pt x="1005546" y="697299"/>
                    <a:pt x="1008675" y="697031"/>
                    <a:pt x="1011805" y="697299"/>
                  </a:cubicBezTo>
                  <a:cubicBezTo>
                    <a:pt x="1022355" y="699266"/>
                    <a:pt x="1031475" y="703826"/>
                    <a:pt x="1029061" y="716075"/>
                  </a:cubicBezTo>
                  <a:cubicBezTo>
                    <a:pt x="1027183" y="725732"/>
                    <a:pt x="1017706" y="728235"/>
                    <a:pt x="1008944" y="730113"/>
                  </a:cubicBezTo>
                  <a:cubicBezTo>
                    <a:pt x="998482" y="732348"/>
                    <a:pt x="987038" y="731722"/>
                    <a:pt x="979169" y="740485"/>
                  </a:cubicBezTo>
                  <a:cubicBezTo>
                    <a:pt x="976755" y="755595"/>
                    <a:pt x="1012252" y="741468"/>
                    <a:pt x="997856" y="765341"/>
                  </a:cubicBezTo>
                  <a:cubicBezTo>
                    <a:pt x="988021" y="769543"/>
                    <a:pt x="977828" y="772405"/>
                    <a:pt x="970586" y="772405"/>
                  </a:cubicBezTo>
                  <a:cubicBezTo>
                    <a:pt x="978723" y="773656"/>
                    <a:pt x="988915" y="768918"/>
                    <a:pt x="999466" y="765520"/>
                  </a:cubicBezTo>
                  <a:cubicBezTo>
                    <a:pt x="1023965" y="756579"/>
                    <a:pt x="1048463" y="748889"/>
                    <a:pt x="1073141" y="765073"/>
                  </a:cubicBezTo>
                  <a:cubicBezTo>
                    <a:pt x="1079668" y="771242"/>
                    <a:pt x="1076360" y="777322"/>
                    <a:pt x="1073141" y="783492"/>
                  </a:cubicBezTo>
                  <a:cubicBezTo>
                    <a:pt x="1048106" y="817826"/>
                    <a:pt x="1015113" y="842146"/>
                    <a:pt x="976934" y="859849"/>
                  </a:cubicBezTo>
                  <a:cubicBezTo>
                    <a:pt x="966115" y="862442"/>
                    <a:pt x="954760" y="862084"/>
                    <a:pt x="944210" y="865840"/>
                  </a:cubicBezTo>
                  <a:cubicBezTo>
                    <a:pt x="932944" y="868611"/>
                    <a:pt x="921767" y="868969"/>
                    <a:pt x="910680" y="864946"/>
                  </a:cubicBezTo>
                  <a:cubicBezTo>
                    <a:pt x="908624" y="865214"/>
                    <a:pt x="906746" y="865929"/>
                    <a:pt x="904958" y="867002"/>
                  </a:cubicBezTo>
                  <a:cubicBezTo>
                    <a:pt x="892351" y="881040"/>
                    <a:pt x="871786" y="864588"/>
                    <a:pt x="859358" y="878983"/>
                  </a:cubicBezTo>
                  <a:cubicBezTo>
                    <a:pt x="833250" y="920291"/>
                    <a:pt x="809019" y="963477"/>
                    <a:pt x="767353" y="991642"/>
                  </a:cubicBezTo>
                  <a:cubicBezTo>
                    <a:pt x="752422" y="1001656"/>
                    <a:pt x="732573" y="1000315"/>
                    <a:pt x="715584" y="1006931"/>
                  </a:cubicBezTo>
                  <a:cubicBezTo>
                    <a:pt x="709147" y="1009435"/>
                    <a:pt x="704765" y="1001745"/>
                    <a:pt x="703246" y="994861"/>
                  </a:cubicBezTo>
                  <a:cubicBezTo>
                    <a:pt x="702262" y="991105"/>
                    <a:pt x="705123" y="987529"/>
                    <a:pt x="704050" y="983774"/>
                  </a:cubicBezTo>
                  <a:cubicBezTo>
                    <a:pt x="698596" y="986366"/>
                    <a:pt x="698864" y="991016"/>
                    <a:pt x="699580" y="995933"/>
                  </a:cubicBezTo>
                  <a:cubicBezTo>
                    <a:pt x="698328" y="1012206"/>
                    <a:pt x="686347" y="1015783"/>
                    <a:pt x="673382" y="1018644"/>
                  </a:cubicBezTo>
                  <a:cubicBezTo>
                    <a:pt x="660775" y="1021416"/>
                    <a:pt x="648526" y="1024903"/>
                    <a:pt x="643876" y="1039030"/>
                  </a:cubicBezTo>
                  <a:cubicBezTo>
                    <a:pt x="643071" y="1046004"/>
                    <a:pt x="643697" y="1053068"/>
                    <a:pt x="641373" y="1059863"/>
                  </a:cubicBezTo>
                  <a:cubicBezTo>
                    <a:pt x="640300" y="1062456"/>
                    <a:pt x="638780" y="1064691"/>
                    <a:pt x="636813" y="1066658"/>
                  </a:cubicBezTo>
                  <a:cubicBezTo>
                    <a:pt x="627782" y="1072649"/>
                    <a:pt x="629660" y="1083467"/>
                    <a:pt x="626083" y="1091872"/>
                  </a:cubicBezTo>
                  <a:cubicBezTo>
                    <a:pt x="603909" y="1112794"/>
                    <a:pt x="597650" y="1142121"/>
                    <a:pt x="587636" y="1168855"/>
                  </a:cubicBezTo>
                  <a:cubicBezTo>
                    <a:pt x="574582" y="1203815"/>
                    <a:pt x="550530" y="1233858"/>
                    <a:pt x="542662" y="1270963"/>
                  </a:cubicBezTo>
                  <a:cubicBezTo>
                    <a:pt x="541857" y="1274808"/>
                    <a:pt x="536225" y="1276328"/>
                    <a:pt x="531843" y="1277222"/>
                  </a:cubicBezTo>
                  <a:cubicBezTo>
                    <a:pt x="519952" y="1267745"/>
                    <a:pt x="504305" y="1272036"/>
                    <a:pt x="491340" y="1266493"/>
                  </a:cubicBezTo>
                  <a:cubicBezTo>
                    <a:pt x="480432" y="1260681"/>
                    <a:pt x="473189" y="1251025"/>
                    <a:pt x="465232" y="1242173"/>
                  </a:cubicBezTo>
                  <a:cubicBezTo>
                    <a:pt x="463801" y="1239669"/>
                    <a:pt x="462997" y="1236898"/>
                    <a:pt x="462639" y="1234126"/>
                  </a:cubicBezTo>
                  <a:cubicBezTo>
                    <a:pt x="458347" y="1217317"/>
                    <a:pt x="449942" y="1234662"/>
                    <a:pt x="443952" y="1232069"/>
                  </a:cubicBezTo>
                  <a:cubicBezTo>
                    <a:pt x="433759" y="1234305"/>
                    <a:pt x="422940" y="1233768"/>
                    <a:pt x="416771" y="1225453"/>
                  </a:cubicBezTo>
                  <a:cubicBezTo>
                    <a:pt x="394597" y="1195858"/>
                    <a:pt x="358027" y="1174578"/>
                    <a:pt x="361067" y="1129961"/>
                  </a:cubicBezTo>
                  <a:cubicBezTo>
                    <a:pt x="361693" y="1120663"/>
                    <a:pt x="353378" y="1114583"/>
                    <a:pt x="348550" y="1107698"/>
                  </a:cubicBezTo>
                  <a:cubicBezTo>
                    <a:pt x="334423" y="1087670"/>
                    <a:pt x="332992" y="1069877"/>
                    <a:pt x="354898" y="1054409"/>
                  </a:cubicBezTo>
                  <a:cubicBezTo>
                    <a:pt x="364644" y="1041712"/>
                    <a:pt x="364107" y="1033755"/>
                    <a:pt x="345599" y="1034023"/>
                  </a:cubicBezTo>
                  <a:cubicBezTo>
                    <a:pt x="329773" y="1022310"/>
                    <a:pt x="337463" y="1006037"/>
                    <a:pt x="337016" y="991374"/>
                  </a:cubicBezTo>
                  <a:cubicBezTo>
                    <a:pt x="335406" y="988155"/>
                    <a:pt x="342380" y="980644"/>
                    <a:pt x="332277" y="981538"/>
                  </a:cubicBezTo>
                  <a:cubicBezTo>
                    <a:pt x="323246" y="982343"/>
                    <a:pt x="316541" y="978588"/>
                    <a:pt x="310818" y="972061"/>
                  </a:cubicBezTo>
                  <a:cubicBezTo>
                    <a:pt x="296333" y="941661"/>
                    <a:pt x="321190" y="940677"/>
                    <a:pt x="338893" y="934329"/>
                  </a:cubicBezTo>
                  <a:cubicBezTo>
                    <a:pt x="347209" y="933167"/>
                    <a:pt x="355077" y="928875"/>
                    <a:pt x="358653" y="929590"/>
                  </a:cubicBezTo>
                  <a:cubicBezTo>
                    <a:pt x="352216" y="930216"/>
                    <a:pt x="341218" y="933435"/>
                    <a:pt x="330041" y="936028"/>
                  </a:cubicBezTo>
                  <a:cubicBezTo>
                    <a:pt x="317435" y="938174"/>
                    <a:pt x="307778" y="933167"/>
                    <a:pt x="307242" y="920560"/>
                  </a:cubicBezTo>
                  <a:cubicBezTo>
                    <a:pt x="306616" y="905985"/>
                    <a:pt x="319491" y="902588"/>
                    <a:pt x="330936" y="899548"/>
                  </a:cubicBezTo>
                  <a:cubicBezTo>
                    <a:pt x="337284" y="899101"/>
                    <a:pt x="343632" y="900174"/>
                    <a:pt x="349980" y="899548"/>
                  </a:cubicBezTo>
                  <a:cubicBezTo>
                    <a:pt x="342380" y="898743"/>
                    <a:pt x="335496" y="896776"/>
                    <a:pt x="332992" y="888193"/>
                  </a:cubicBezTo>
                  <a:cubicBezTo>
                    <a:pt x="332724" y="881040"/>
                    <a:pt x="336837" y="877016"/>
                    <a:pt x="342917" y="874513"/>
                  </a:cubicBezTo>
                  <a:cubicBezTo>
                    <a:pt x="344973" y="873261"/>
                    <a:pt x="348103" y="875049"/>
                    <a:pt x="349623" y="872188"/>
                  </a:cubicBezTo>
                  <a:cubicBezTo>
                    <a:pt x="345510" y="872724"/>
                    <a:pt x="341844" y="871562"/>
                    <a:pt x="338178" y="869774"/>
                  </a:cubicBezTo>
                  <a:cubicBezTo>
                    <a:pt x="330936" y="863247"/>
                    <a:pt x="331204" y="856899"/>
                    <a:pt x="338536" y="850640"/>
                  </a:cubicBezTo>
                  <a:cubicBezTo>
                    <a:pt x="346672" y="845007"/>
                    <a:pt x="358296" y="848315"/>
                    <a:pt x="365270" y="839910"/>
                  </a:cubicBezTo>
                  <a:cubicBezTo>
                    <a:pt x="370545" y="831684"/>
                    <a:pt x="374926" y="823012"/>
                    <a:pt x="385119" y="819346"/>
                  </a:cubicBezTo>
                  <a:cubicBezTo>
                    <a:pt x="394328" y="815948"/>
                    <a:pt x="383063" y="814339"/>
                    <a:pt x="383957" y="811388"/>
                  </a:cubicBezTo>
                  <a:cubicBezTo>
                    <a:pt x="375373" y="788320"/>
                    <a:pt x="395938" y="776965"/>
                    <a:pt x="412390" y="755059"/>
                  </a:cubicBezTo>
                  <a:cubicBezTo>
                    <a:pt x="372959" y="768292"/>
                    <a:pt x="351858" y="748621"/>
                    <a:pt x="329058" y="733242"/>
                  </a:cubicBezTo>
                  <a:cubicBezTo>
                    <a:pt x="316898" y="720456"/>
                    <a:pt x="321100" y="712767"/>
                    <a:pt x="336926" y="709727"/>
                  </a:cubicBezTo>
                  <a:cubicBezTo>
                    <a:pt x="348639" y="707492"/>
                    <a:pt x="359994" y="710353"/>
                    <a:pt x="370813" y="715002"/>
                  </a:cubicBezTo>
                  <a:cubicBezTo>
                    <a:pt x="378234" y="715718"/>
                    <a:pt x="389232" y="728235"/>
                    <a:pt x="390305" y="708833"/>
                  </a:cubicBezTo>
                  <a:cubicBezTo>
                    <a:pt x="389232" y="706419"/>
                    <a:pt x="388248" y="704005"/>
                    <a:pt x="386997" y="701591"/>
                  </a:cubicBezTo>
                  <a:cubicBezTo>
                    <a:pt x="380023" y="691577"/>
                    <a:pt x="376357" y="679595"/>
                    <a:pt x="367594" y="670744"/>
                  </a:cubicBezTo>
                  <a:cubicBezTo>
                    <a:pt x="365896" y="668955"/>
                    <a:pt x="364376" y="666899"/>
                    <a:pt x="363124" y="665021"/>
                  </a:cubicBezTo>
                  <a:cubicBezTo>
                    <a:pt x="357044" y="671548"/>
                    <a:pt x="358922" y="682904"/>
                    <a:pt x="349354" y="687017"/>
                  </a:cubicBezTo>
                  <a:cubicBezTo>
                    <a:pt x="339162" y="691219"/>
                    <a:pt x="328790" y="694348"/>
                    <a:pt x="317971" y="689162"/>
                  </a:cubicBezTo>
                  <a:cubicBezTo>
                    <a:pt x="313053" y="672264"/>
                    <a:pt x="329148" y="654381"/>
                    <a:pt x="315646" y="637840"/>
                  </a:cubicBezTo>
                  <a:cubicBezTo>
                    <a:pt x="319133" y="621478"/>
                    <a:pt x="352931" y="625054"/>
                    <a:pt x="341307" y="598767"/>
                  </a:cubicBezTo>
                  <a:cubicBezTo>
                    <a:pt x="337105" y="595459"/>
                    <a:pt x="339519" y="589379"/>
                    <a:pt x="335764" y="585892"/>
                  </a:cubicBezTo>
                  <a:cubicBezTo>
                    <a:pt x="326376" y="580527"/>
                    <a:pt x="305185" y="581064"/>
                    <a:pt x="323604" y="561751"/>
                  </a:cubicBezTo>
                  <a:cubicBezTo>
                    <a:pt x="303397" y="549859"/>
                    <a:pt x="327002" y="512306"/>
                    <a:pt x="292131" y="508640"/>
                  </a:cubicBezTo>
                  <a:cubicBezTo>
                    <a:pt x="279435" y="507299"/>
                    <a:pt x="279435" y="497375"/>
                    <a:pt x="279166" y="487092"/>
                  </a:cubicBezTo>
                  <a:cubicBezTo>
                    <a:pt x="278809" y="473412"/>
                    <a:pt x="285783" y="453205"/>
                    <a:pt x="272818" y="447751"/>
                  </a:cubicBezTo>
                  <a:cubicBezTo>
                    <a:pt x="251002" y="438631"/>
                    <a:pt x="235891" y="417083"/>
                    <a:pt x="211392" y="415205"/>
                  </a:cubicBezTo>
                  <a:cubicBezTo>
                    <a:pt x="204061" y="414669"/>
                    <a:pt x="199322" y="412970"/>
                    <a:pt x="194941" y="407963"/>
                  </a:cubicBezTo>
                  <a:cubicBezTo>
                    <a:pt x="187072" y="405191"/>
                    <a:pt x="180903" y="395714"/>
                    <a:pt x="170800" y="401794"/>
                  </a:cubicBezTo>
                  <a:cubicBezTo>
                    <a:pt x="143887" y="384895"/>
                    <a:pt x="126451" y="412702"/>
                    <a:pt x="104456" y="417977"/>
                  </a:cubicBezTo>
                  <a:cubicBezTo>
                    <a:pt x="81656" y="423431"/>
                    <a:pt x="69318" y="419587"/>
                    <a:pt x="60019" y="401168"/>
                  </a:cubicBezTo>
                  <a:cubicBezTo>
                    <a:pt x="53581" y="388561"/>
                    <a:pt x="44372" y="382034"/>
                    <a:pt x="30602" y="382838"/>
                  </a:cubicBezTo>
                  <a:cubicBezTo>
                    <a:pt x="31943" y="369516"/>
                    <a:pt x="40706" y="366655"/>
                    <a:pt x="47769" y="362095"/>
                  </a:cubicBezTo>
                  <a:cubicBezTo>
                    <a:pt x="51167" y="356998"/>
                    <a:pt x="59750" y="358965"/>
                    <a:pt x="61896" y="352081"/>
                  </a:cubicBezTo>
                  <a:cubicBezTo>
                    <a:pt x="56800" y="356909"/>
                    <a:pt x="52329" y="353511"/>
                    <a:pt x="47859" y="350829"/>
                  </a:cubicBezTo>
                  <a:cubicBezTo>
                    <a:pt x="38739" y="334914"/>
                    <a:pt x="10306" y="344391"/>
                    <a:pt x="6908" y="319088"/>
                  </a:cubicBezTo>
                  <a:cubicBezTo>
                    <a:pt x="26221" y="310147"/>
                    <a:pt x="41957" y="326599"/>
                    <a:pt x="59571" y="325794"/>
                  </a:cubicBezTo>
                  <a:cubicBezTo>
                    <a:pt x="64132" y="325615"/>
                    <a:pt x="71463" y="327046"/>
                    <a:pt x="70033" y="318999"/>
                  </a:cubicBezTo>
                  <a:cubicBezTo>
                    <a:pt x="69496" y="315959"/>
                    <a:pt x="64221" y="313723"/>
                    <a:pt x="61181" y="311041"/>
                  </a:cubicBezTo>
                  <a:cubicBezTo>
                    <a:pt x="67082" y="300759"/>
                    <a:pt x="77365" y="297450"/>
                    <a:pt x="87826" y="294679"/>
                  </a:cubicBezTo>
                  <a:cubicBezTo>
                    <a:pt x="95783" y="294142"/>
                    <a:pt x="103741" y="295215"/>
                    <a:pt x="116527" y="293516"/>
                  </a:cubicBezTo>
                  <a:cubicBezTo>
                    <a:pt x="102489" y="294947"/>
                    <a:pt x="93190" y="293784"/>
                    <a:pt x="83891" y="294857"/>
                  </a:cubicBezTo>
                  <a:cubicBezTo>
                    <a:pt x="70033" y="301384"/>
                    <a:pt x="56174" y="305497"/>
                    <a:pt x="41689" y="29682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9" name="Freeform: Shape 8">
              <a:extLst>
                <a:ext uri="{FF2B5EF4-FFF2-40B4-BE49-F238E27FC236}">
                  <a16:creationId xmlns:a16="http://schemas.microsoft.com/office/drawing/2014/main" id="{CFDE296C-0ED2-A4D4-F97C-C711A13E6D63}"/>
                </a:ext>
              </a:extLst>
            </p:cNvPr>
            <p:cNvSpPr/>
            <p:nvPr/>
          </p:nvSpPr>
          <p:spPr>
            <a:xfrm>
              <a:off x="5664724" y="1992024"/>
              <a:ext cx="1075641" cy="554141"/>
            </a:xfrm>
            <a:custGeom>
              <a:avLst/>
              <a:gdLst>
                <a:gd name="connsiteX0" fmla="*/ 315729 w 737840"/>
                <a:gd name="connsiteY0" fmla="*/ 138230 h 380115"/>
                <a:gd name="connsiteX1" fmla="*/ 367229 w 737840"/>
                <a:gd name="connsiteY1" fmla="*/ 138051 h 380115"/>
                <a:gd name="connsiteX2" fmla="*/ 357484 w 737840"/>
                <a:gd name="connsiteY2" fmla="*/ 90842 h 380115"/>
                <a:gd name="connsiteX3" fmla="*/ 285329 w 737840"/>
                <a:gd name="connsiteY3" fmla="*/ 130899 h 380115"/>
                <a:gd name="connsiteX4" fmla="*/ 208703 w 737840"/>
                <a:gd name="connsiteY4" fmla="*/ 109708 h 380115"/>
                <a:gd name="connsiteX5" fmla="*/ 190552 w 737840"/>
                <a:gd name="connsiteY5" fmla="*/ 109172 h 380115"/>
                <a:gd name="connsiteX6" fmla="*/ 165785 w 737840"/>
                <a:gd name="connsiteY6" fmla="*/ 105684 h 380115"/>
                <a:gd name="connsiteX7" fmla="*/ 112586 w 737840"/>
                <a:gd name="connsiteY7" fmla="*/ 105237 h 380115"/>
                <a:gd name="connsiteX8" fmla="*/ 73423 w 737840"/>
                <a:gd name="connsiteY8" fmla="*/ 97816 h 380115"/>
                <a:gd name="connsiteX9" fmla="*/ 98995 w 737840"/>
                <a:gd name="connsiteY9" fmla="*/ 73496 h 380115"/>
                <a:gd name="connsiteX10" fmla="*/ 92647 w 737840"/>
                <a:gd name="connsiteY10" fmla="*/ 45779 h 380115"/>
                <a:gd name="connsiteX11" fmla="*/ 170167 w 737840"/>
                <a:gd name="connsiteY11" fmla="*/ 47209 h 380115"/>
                <a:gd name="connsiteX12" fmla="*/ 185098 w 737840"/>
                <a:gd name="connsiteY12" fmla="*/ 26913 h 380115"/>
                <a:gd name="connsiteX13" fmla="*/ 267983 w 737840"/>
                <a:gd name="connsiteY13" fmla="*/ 35496 h 380115"/>
                <a:gd name="connsiteX14" fmla="*/ 321898 w 737840"/>
                <a:gd name="connsiteY14" fmla="*/ 33976 h 380115"/>
                <a:gd name="connsiteX15" fmla="*/ 429549 w 737840"/>
                <a:gd name="connsiteY15" fmla="*/ 34692 h 380115"/>
                <a:gd name="connsiteX16" fmla="*/ 446091 w 737840"/>
                <a:gd name="connsiteY16" fmla="*/ 0 h 380115"/>
                <a:gd name="connsiteX17" fmla="*/ 459145 w 737840"/>
                <a:gd name="connsiteY17" fmla="*/ 6348 h 380115"/>
                <a:gd name="connsiteX18" fmla="*/ 503314 w 737840"/>
                <a:gd name="connsiteY18" fmla="*/ 20654 h 380115"/>
                <a:gd name="connsiteX19" fmla="*/ 516994 w 737840"/>
                <a:gd name="connsiteY19" fmla="*/ 20028 h 380115"/>
                <a:gd name="connsiteX20" fmla="*/ 548825 w 737840"/>
                <a:gd name="connsiteY20" fmla="*/ 20743 h 380115"/>
                <a:gd name="connsiteX21" fmla="*/ 589864 w 737840"/>
                <a:gd name="connsiteY21" fmla="*/ 25393 h 380115"/>
                <a:gd name="connsiteX22" fmla="*/ 635196 w 737840"/>
                <a:gd name="connsiteY22" fmla="*/ 40056 h 380115"/>
                <a:gd name="connsiteX23" fmla="*/ 654598 w 737840"/>
                <a:gd name="connsiteY23" fmla="*/ 45689 h 380115"/>
                <a:gd name="connsiteX24" fmla="*/ 737841 w 737840"/>
                <a:gd name="connsiteY24" fmla="*/ 54809 h 380115"/>
                <a:gd name="connsiteX25" fmla="*/ 618566 w 737840"/>
                <a:gd name="connsiteY25" fmla="*/ 97906 h 380115"/>
                <a:gd name="connsiteX26" fmla="*/ 583427 w 737840"/>
                <a:gd name="connsiteY26" fmla="*/ 98084 h 380115"/>
                <a:gd name="connsiteX27" fmla="*/ 549182 w 737840"/>
                <a:gd name="connsiteY27" fmla="*/ 122404 h 380115"/>
                <a:gd name="connsiteX28" fmla="*/ 597643 w 737840"/>
                <a:gd name="connsiteY28" fmla="*/ 112212 h 380115"/>
                <a:gd name="connsiteX29" fmla="*/ 619996 w 737840"/>
                <a:gd name="connsiteY29" fmla="*/ 112212 h 380115"/>
                <a:gd name="connsiteX30" fmla="*/ 528439 w 737840"/>
                <a:gd name="connsiteY30" fmla="*/ 155218 h 380115"/>
                <a:gd name="connsiteX31" fmla="*/ 502599 w 737840"/>
                <a:gd name="connsiteY31" fmla="*/ 169346 h 380115"/>
                <a:gd name="connsiteX32" fmla="*/ 429102 w 737840"/>
                <a:gd name="connsiteY32" fmla="*/ 202875 h 380115"/>
                <a:gd name="connsiteX33" fmla="*/ 351493 w 737840"/>
                <a:gd name="connsiteY33" fmla="*/ 208329 h 380115"/>
                <a:gd name="connsiteX34" fmla="*/ 379032 w 737840"/>
                <a:gd name="connsiteY34" fmla="*/ 237030 h 380115"/>
                <a:gd name="connsiteX35" fmla="*/ 396467 w 737840"/>
                <a:gd name="connsiteY35" fmla="*/ 242574 h 380115"/>
                <a:gd name="connsiteX36" fmla="*/ 388063 w 737840"/>
                <a:gd name="connsiteY36" fmla="*/ 259472 h 380115"/>
                <a:gd name="connsiteX37" fmla="*/ 330839 w 737840"/>
                <a:gd name="connsiteY37" fmla="*/ 286832 h 380115"/>
                <a:gd name="connsiteX38" fmla="*/ 306877 w 737840"/>
                <a:gd name="connsiteY38" fmla="*/ 300512 h 380115"/>
                <a:gd name="connsiteX39" fmla="*/ 250190 w 737840"/>
                <a:gd name="connsiteY39" fmla="*/ 314282 h 380115"/>
                <a:gd name="connsiteX40" fmla="*/ 245272 w 737840"/>
                <a:gd name="connsiteY40" fmla="*/ 316785 h 380115"/>
                <a:gd name="connsiteX41" fmla="*/ 250190 w 737840"/>
                <a:gd name="connsiteY41" fmla="*/ 320719 h 380115"/>
                <a:gd name="connsiteX42" fmla="*/ 284882 w 737840"/>
                <a:gd name="connsiteY42" fmla="*/ 343698 h 380115"/>
                <a:gd name="connsiteX43" fmla="*/ 297131 w 737840"/>
                <a:gd name="connsiteY43" fmla="*/ 360060 h 380115"/>
                <a:gd name="connsiteX44" fmla="*/ 280053 w 737840"/>
                <a:gd name="connsiteY44" fmla="*/ 377943 h 380115"/>
                <a:gd name="connsiteX45" fmla="*/ 229357 w 737840"/>
                <a:gd name="connsiteY45" fmla="*/ 373114 h 380115"/>
                <a:gd name="connsiteX46" fmla="*/ 123583 w 737840"/>
                <a:gd name="connsiteY46" fmla="*/ 360060 h 380115"/>
                <a:gd name="connsiteX47" fmla="*/ 5381 w 737840"/>
                <a:gd name="connsiteY47" fmla="*/ 345129 h 380115"/>
                <a:gd name="connsiteX48" fmla="*/ 16 w 737840"/>
                <a:gd name="connsiteY48" fmla="*/ 334936 h 380115"/>
                <a:gd name="connsiteX49" fmla="*/ 15127 w 737840"/>
                <a:gd name="connsiteY49" fmla="*/ 316338 h 380115"/>
                <a:gd name="connsiteX50" fmla="*/ 79146 w 737840"/>
                <a:gd name="connsiteY50" fmla="*/ 310884 h 380115"/>
                <a:gd name="connsiteX51" fmla="*/ 78073 w 737840"/>
                <a:gd name="connsiteY51" fmla="*/ 300870 h 380115"/>
                <a:gd name="connsiteX52" fmla="*/ 51070 w 737840"/>
                <a:gd name="connsiteY52" fmla="*/ 283256 h 380115"/>
                <a:gd name="connsiteX53" fmla="*/ 68684 w 737840"/>
                <a:gd name="connsiteY53" fmla="*/ 271275 h 380115"/>
                <a:gd name="connsiteX54" fmla="*/ 110440 w 737840"/>
                <a:gd name="connsiteY54" fmla="*/ 274315 h 380115"/>
                <a:gd name="connsiteX55" fmla="*/ 187781 w 737840"/>
                <a:gd name="connsiteY55" fmla="*/ 307844 h 380115"/>
                <a:gd name="connsiteX56" fmla="*/ 202623 w 737840"/>
                <a:gd name="connsiteY56" fmla="*/ 289336 h 380115"/>
                <a:gd name="connsiteX57" fmla="*/ 182058 w 737840"/>
                <a:gd name="connsiteY57" fmla="*/ 285581 h 380115"/>
                <a:gd name="connsiteX58" fmla="*/ 151658 w 737840"/>
                <a:gd name="connsiteY58" fmla="*/ 284239 h 380115"/>
                <a:gd name="connsiteX59" fmla="*/ 158006 w 737840"/>
                <a:gd name="connsiteY59" fmla="*/ 250442 h 380115"/>
                <a:gd name="connsiteX60" fmla="*/ 102392 w 737840"/>
                <a:gd name="connsiteY60" fmla="*/ 255002 h 380115"/>
                <a:gd name="connsiteX61" fmla="*/ 87193 w 737840"/>
                <a:gd name="connsiteY61" fmla="*/ 245256 h 380115"/>
                <a:gd name="connsiteX62" fmla="*/ 94703 w 737840"/>
                <a:gd name="connsiteY62" fmla="*/ 228447 h 380115"/>
                <a:gd name="connsiteX63" fmla="*/ 171418 w 737840"/>
                <a:gd name="connsiteY63" fmla="*/ 218701 h 380115"/>
                <a:gd name="connsiteX64" fmla="*/ 191983 w 737840"/>
                <a:gd name="connsiteY64" fmla="*/ 225764 h 380115"/>
                <a:gd name="connsiteX65" fmla="*/ 187781 w 737840"/>
                <a:gd name="connsiteY65" fmla="*/ 222903 h 380115"/>
                <a:gd name="connsiteX66" fmla="*/ 179555 w 737840"/>
                <a:gd name="connsiteY66" fmla="*/ 203948 h 380115"/>
                <a:gd name="connsiteX67" fmla="*/ 189390 w 737840"/>
                <a:gd name="connsiteY67" fmla="*/ 198494 h 380115"/>
                <a:gd name="connsiteX68" fmla="*/ 182416 w 737840"/>
                <a:gd name="connsiteY68" fmla="*/ 192593 h 380115"/>
                <a:gd name="connsiteX69" fmla="*/ 158901 w 737840"/>
                <a:gd name="connsiteY69" fmla="*/ 149943 h 380115"/>
                <a:gd name="connsiteX70" fmla="*/ 216660 w 737840"/>
                <a:gd name="connsiteY70" fmla="*/ 160315 h 380115"/>
                <a:gd name="connsiteX71" fmla="*/ 237583 w 737840"/>
                <a:gd name="connsiteY71" fmla="*/ 180254 h 380115"/>
                <a:gd name="connsiteX72" fmla="*/ 262260 w 737840"/>
                <a:gd name="connsiteY72" fmla="*/ 171581 h 380115"/>
                <a:gd name="connsiteX73" fmla="*/ 288816 w 737840"/>
                <a:gd name="connsiteY73" fmla="*/ 156381 h 380115"/>
                <a:gd name="connsiteX74" fmla="*/ 316176 w 737840"/>
                <a:gd name="connsiteY74" fmla="*/ 138409 h 380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737840" h="380115">
                  <a:moveTo>
                    <a:pt x="315729" y="138230"/>
                  </a:moveTo>
                  <a:cubicBezTo>
                    <a:pt x="329230" y="131167"/>
                    <a:pt x="343893" y="131703"/>
                    <a:pt x="367229" y="138051"/>
                  </a:cubicBezTo>
                  <a:cubicBezTo>
                    <a:pt x="352656" y="119990"/>
                    <a:pt x="337992" y="110870"/>
                    <a:pt x="357484" y="90842"/>
                  </a:cubicBezTo>
                  <a:cubicBezTo>
                    <a:pt x="322792" y="99336"/>
                    <a:pt x="308039" y="121421"/>
                    <a:pt x="285329" y="130899"/>
                  </a:cubicBezTo>
                  <a:cubicBezTo>
                    <a:pt x="244825" y="147708"/>
                    <a:pt x="236778" y="146903"/>
                    <a:pt x="208703" y="109708"/>
                  </a:cubicBezTo>
                  <a:cubicBezTo>
                    <a:pt x="201997" y="100767"/>
                    <a:pt x="196096" y="106221"/>
                    <a:pt x="190552" y="109172"/>
                  </a:cubicBezTo>
                  <a:cubicBezTo>
                    <a:pt x="180985" y="114357"/>
                    <a:pt x="172491" y="117934"/>
                    <a:pt x="165785" y="105684"/>
                  </a:cubicBezTo>
                  <a:cubicBezTo>
                    <a:pt x="148171" y="98174"/>
                    <a:pt x="130468" y="99336"/>
                    <a:pt x="112586" y="105237"/>
                  </a:cubicBezTo>
                  <a:cubicBezTo>
                    <a:pt x="98906" y="105774"/>
                    <a:pt x="85941" y="102823"/>
                    <a:pt x="73423" y="97816"/>
                  </a:cubicBezTo>
                  <a:cubicBezTo>
                    <a:pt x="73781" y="81186"/>
                    <a:pt x="93451" y="84673"/>
                    <a:pt x="98995" y="73496"/>
                  </a:cubicBezTo>
                  <a:cubicBezTo>
                    <a:pt x="90143" y="65807"/>
                    <a:pt x="84242" y="57492"/>
                    <a:pt x="92647" y="45779"/>
                  </a:cubicBezTo>
                  <a:cubicBezTo>
                    <a:pt x="118755" y="32367"/>
                    <a:pt x="144416" y="42113"/>
                    <a:pt x="170167" y="47209"/>
                  </a:cubicBezTo>
                  <a:cubicBezTo>
                    <a:pt x="191357" y="52395"/>
                    <a:pt x="174637" y="29685"/>
                    <a:pt x="185098" y="26913"/>
                  </a:cubicBezTo>
                  <a:cubicBezTo>
                    <a:pt x="214962" y="8584"/>
                    <a:pt x="241070" y="23783"/>
                    <a:pt x="267983" y="35496"/>
                  </a:cubicBezTo>
                  <a:cubicBezTo>
                    <a:pt x="285507" y="43096"/>
                    <a:pt x="298919" y="57134"/>
                    <a:pt x="321898" y="33976"/>
                  </a:cubicBezTo>
                  <a:cubicBezTo>
                    <a:pt x="350778" y="5007"/>
                    <a:pt x="393070" y="9120"/>
                    <a:pt x="429549" y="34692"/>
                  </a:cubicBezTo>
                  <a:cubicBezTo>
                    <a:pt x="413545" y="7958"/>
                    <a:pt x="425526" y="984"/>
                    <a:pt x="446091" y="0"/>
                  </a:cubicBezTo>
                  <a:cubicBezTo>
                    <a:pt x="450472" y="2146"/>
                    <a:pt x="454853" y="4292"/>
                    <a:pt x="459145" y="6348"/>
                  </a:cubicBezTo>
                  <a:cubicBezTo>
                    <a:pt x="473898" y="10908"/>
                    <a:pt x="490528" y="9925"/>
                    <a:pt x="503314" y="20654"/>
                  </a:cubicBezTo>
                  <a:cubicBezTo>
                    <a:pt x="507963" y="23426"/>
                    <a:pt x="512792" y="28969"/>
                    <a:pt x="516994" y="20028"/>
                  </a:cubicBezTo>
                  <a:cubicBezTo>
                    <a:pt x="527902" y="8405"/>
                    <a:pt x="538185" y="21548"/>
                    <a:pt x="548825" y="20743"/>
                  </a:cubicBezTo>
                  <a:cubicBezTo>
                    <a:pt x="561968" y="26823"/>
                    <a:pt x="576542" y="20296"/>
                    <a:pt x="589864" y="25393"/>
                  </a:cubicBezTo>
                  <a:cubicBezTo>
                    <a:pt x="603544" y="34602"/>
                    <a:pt x="618476" y="40146"/>
                    <a:pt x="635196" y="40056"/>
                  </a:cubicBezTo>
                  <a:cubicBezTo>
                    <a:pt x="640114" y="47120"/>
                    <a:pt x="645925" y="51322"/>
                    <a:pt x="654598" y="45689"/>
                  </a:cubicBezTo>
                  <a:cubicBezTo>
                    <a:pt x="683657" y="28612"/>
                    <a:pt x="705474" y="58386"/>
                    <a:pt x="737841" y="54809"/>
                  </a:cubicBezTo>
                  <a:cubicBezTo>
                    <a:pt x="702165" y="93614"/>
                    <a:pt x="659158" y="92809"/>
                    <a:pt x="618566" y="97906"/>
                  </a:cubicBezTo>
                  <a:cubicBezTo>
                    <a:pt x="607031" y="99336"/>
                    <a:pt x="595140" y="98084"/>
                    <a:pt x="583427" y="98084"/>
                  </a:cubicBezTo>
                  <a:cubicBezTo>
                    <a:pt x="581281" y="119096"/>
                    <a:pt x="561610" y="115699"/>
                    <a:pt x="549182" y="122404"/>
                  </a:cubicBezTo>
                  <a:cubicBezTo>
                    <a:pt x="564382" y="114357"/>
                    <a:pt x="581639" y="116414"/>
                    <a:pt x="597643" y="112212"/>
                  </a:cubicBezTo>
                  <a:lnTo>
                    <a:pt x="619996" y="112212"/>
                  </a:lnTo>
                  <a:cubicBezTo>
                    <a:pt x="587987" y="124014"/>
                    <a:pt x="567333" y="158706"/>
                    <a:pt x="528439" y="155218"/>
                  </a:cubicBezTo>
                  <a:cubicBezTo>
                    <a:pt x="520034" y="154503"/>
                    <a:pt x="505549" y="162103"/>
                    <a:pt x="502599" y="169346"/>
                  </a:cubicBezTo>
                  <a:cubicBezTo>
                    <a:pt x="488025" y="204931"/>
                    <a:pt x="457088" y="198315"/>
                    <a:pt x="429102" y="202875"/>
                  </a:cubicBezTo>
                  <a:cubicBezTo>
                    <a:pt x="403352" y="207077"/>
                    <a:pt x="379300" y="225228"/>
                    <a:pt x="351493" y="208329"/>
                  </a:cubicBezTo>
                  <a:cubicBezTo>
                    <a:pt x="353755" y="227045"/>
                    <a:pt x="362938" y="236613"/>
                    <a:pt x="379032" y="237030"/>
                  </a:cubicBezTo>
                  <a:cubicBezTo>
                    <a:pt x="385470" y="237209"/>
                    <a:pt x="392980" y="235510"/>
                    <a:pt x="396467" y="242574"/>
                  </a:cubicBezTo>
                  <a:cubicBezTo>
                    <a:pt x="400491" y="250889"/>
                    <a:pt x="383413" y="249995"/>
                    <a:pt x="388063" y="259472"/>
                  </a:cubicBezTo>
                  <a:cubicBezTo>
                    <a:pt x="367855" y="265910"/>
                    <a:pt x="361060" y="299350"/>
                    <a:pt x="330839" y="286832"/>
                  </a:cubicBezTo>
                  <a:cubicBezTo>
                    <a:pt x="320110" y="282362"/>
                    <a:pt x="312241" y="293896"/>
                    <a:pt x="306877" y="300512"/>
                  </a:cubicBezTo>
                  <a:cubicBezTo>
                    <a:pt x="290872" y="320451"/>
                    <a:pt x="272632" y="324117"/>
                    <a:pt x="250190" y="314282"/>
                  </a:cubicBezTo>
                  <a:cubicBezTo>
                    <a:pt x="247597" y="313566"/>
                    <a:pt x="245094" y="314460"/>
                    <a:pt x="245272" y="316785"/>
                  </a:cubicBezTo>
                  <a:cubicBezTo>
                    <a:pt x="245272" y="317858"/>
                    <a:pt x="248670" y="319020"/>
                    <a:pt x="250190" y="320719"/>
                  </a:cubicBezTo>
                  <a:cubicBezTo>
                    <a:pt x="262350" y="327336"/>
                    <a:pt x="270039" y="340032"/>
                    <a:pt x="284882" y="343698"/>
                  </a:cubicBezTo>
                  <a:cubicBezTo>
                    <a:pt x="289620" y="344860"/>
                    <a:pt x="299903" y="349867"/>
                    <a:pt x="297131" y="360060"/>
                  </a:cubicBezTo>
                  <a:cubicBezTo>
                    <a:pt x="294717" y="368912"/>
                    <a:pt x="289442" y="375707"/>
                    <a:pt x="280053" y="377943"/>
                  </a:cubicBezTo>
                  <a:cubicBezTo>
                    <a:pt x="262618" y="382056"/>
                    <a:pt x="244557" y="380267"/>
                    <a:pt x="229357" y="373114"/>
                  </a:cubicBezTo>
                  <a:cubicBezTo>
                    <a:pt x="194844" y="356752"/>
                    <a:pt x="163461" y="354249"/>
                    <a:pt x="123583" y="360060"/>
                  </a:cubicBezTo>
                  <a:cubicBezTo>
                    <a:pt x="87908" y="365246"/>
                    <a:pt x="43381" y="361849"/>
                    <a:pt x="5381" y="345129"/>
                  </a:cubicBezTo>
                  <a:cubicBezTo>
                    <a:pt x="16" y="342804"/>
                    <a:pt x="-73" y="338959"/>
                    <a:pt x="16" y="334936"/>
                  </a:cubicBezTo>
                  <a:cubicBezTo>
                    <a:pt x="285" y="325011"/>
                    <a:pt x="6007" y="316875"/>
                    <a:pt x="15127" y="316338"/>
                  </a:cubicBezTo>
                  <a:cubicBezTo>
                    <a:pt x="36675" y="314997"/>
                    <a:pt x="56346" y="302301"/>
                    <a:pt x="79146" y="310884"/>
                  </a:cubicBezTo>
                  <a:cubicBezTo>
                    <a:pt x="78520" y="304715"/>
                    <a:pt x="79146" y="301943"/>
                    <a:pt x="78073" y="300870"/>
                  </a:cubicBezTo>
                  <a:cubicBezTo>
                    <a:pt x="69936" y="293449"/>
                    <a:pt x="51696" y="299708"/>
                    <a:pt x="51070" y="283256"/>
                  </a:cubicBezTo>
                  <a:cubicBezTo>
                    <a:pt x="50713" y="274404"/>
                    <a:pt x="62157" y="273689"/>
                    <a:pt x="68684" y="271275"/>
                  </a:cubicBezTo>
                  <a:cubicBezTo>
                    <a:pt x="82633" y="266089"/>
                    <a:pt x="96134" y="259651"/>
                    <a:pt x="110440" y="274315"/>
                  </a:cubicBezTo>
                  <a:cubicBezTo>
                    <a:pt x="131183" y="295505"/>
                    <a:pt x="154341" y="313835"/>
                    <a:pt x="187781" y="307844"/>
                  </a:cubicBezTo>
                  <a:cubicBezTo>
                    <a:pt x="199136" y="305788"/>
                    <a:pt x="206557" y="302748"/>
                    <a:pt x="202623" y="289336"/>
                  </a:cubicBezTo>
                  <a:cubicBezTo>
                    <a:pt x="198242" y="274494"/>
                    <a:pt x="189390" y="283345"/>
                    <a:pt x="182058" y="285581"/>
                  </a:cubicBezTo>
                  <a:cubicBezTo>
                    <a:pt x="171686" y="288710"/>
                    <a:pt x="161136" y="293717"/>
                    <a:pt x="151658" y="284239"/>
                  </a:cubicBezTo>
                  <a:cubicBezTo>
                    <a:pt x="137978" y="270559"/>
                    <a:pt x="159616" y="264301"/>
                    <a:pt x="158006" y="250442"/>
                  </a:cubicBezTo>
                  <a:cubicBezTo>
                    <a:pt x="140214" y="263049"/>
                    <a:pt x="121079" y="252141"/>
                    <a:pt x="102392" y="255002"/>
                  </a:cubicBezTo>
                  <a:cubicBezTo>
                    <a:pt x="95508" y="256075"/>
                    <a:pt x="89249" y="252141"/>
                    <a:pt x="87193" y="245256"/>
                  </a:cubicBezTo>
                  <a:cubicBezTo>
                    <a:pt x="84957" y="238103"/>
                    <a:pt x="89607" y="232738"/>
                    <a:pt x="94703" y="228447"/>
                  </a:cubicBezTo>
                  <a:cubicBezTo>
                    <a:pt x="118129" y="208597"/>
                    <a:pt x="144237" y="209134"/>
                    <a:pt x="171418" y="218701"/>
                  </a:cubicBezTo>
                  <a:cubicBezTo>
                    <a:pt x="179555" y="217628"/>
                    <a:pt x="185545" y="222814"/>
                    <a:pt x="191983" y="225764"/>
                  </a:cubicBezTo>
                  <a:cubicBezTo>
                    <a:pt x="191268" y="223618"/>
                    <a:pt x="188764" y="224423"/>
                    <a:pt x="187781" y="222903"/>
                  </a:cubicBezTo>
                  <a:cubicBezTo>
                    <a:pt x="181522" y="218075"/>
                    <a:pt x="169630" y="215750"/>
                    <a:pt x="179555" y="203948"/>
                  </a:cubicBezTo>
                  <a:cubicBezTo>
                    <a:pt x="183668" y="203411"/>
                    <a:pt x="188943" y="203948"/>
                    <a:pt x="189390" y="198494"/>
                  </a:cubicBezTo>
                  <a:cubicBezTo>
                    <a:pt x="189569" y="196795"/>
                    <a:pt x="183847" y="195185"/>
                    <a:pt x="182416" y="192593"/>
                  </a:cubicBezTo>
                  <a:cubicBezTo>
                    <a:pt x="173832" y="177929"/>
                    <a:pt x="138157" y="171849"/>
                    <a:pt x="158901" y="149943"/>
                  </a:cubicBezTo>
                  <a:cubicBezTo>
                    <a:pt x="170524" y="137604"/>
                    <a:pt x="198242" y="151284"/>
                    <a:pt x="216660" y="160315"/>
                  </a:cubicBezTo>
                  <a:cubicBezTo>
                    <a:pt x="224886" y="164338"/>
                    <a:pt x="229983" y="174353"/>
                    <a:pt x="237583" y="180254"/>
                  </a:cubicBezTo>
                  <a:cubicBezTo>
                    <a:pt x="251710" y="191251"/>
                    <a:pt x="255286" y="189284"/>
                    <a:pt x="262260" y="171581"/>
                  </a:cubicBezTo>
                  <a:cubicBezTo>
                    <a:pt x="266820" y="159957"/>
                    <a:pt x="278265" y="158527"/>
                    <a:pt x="288816" y="156381"/>
                  </a:cubicBezTo>
                  <a:cubicBezTo>
                    <a:pt x="301333" y="155576"/>
                    <a:pt x="309470" y="148066"/>
                    <a:pt x="316176" y="1384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0" name="Freeform: Shape 9">
              <a:extLst>
                <a:ext uri="{FF2B5EF4-FFF2-40B4-BE49-F238E27FC236}">
                  <a16:creationId xmlns:a16="http://schemas.microsoft.com/office/drawing/2014/main" id="{E1C97CB5-C968-04F7-1CF0-3FA84EB48211}"/>
                </a:ext>
              </a:extLst>
            </p:cNvPr>
            <p:cNvSpPr/>
            <p:nvPr/>
          </p:nvSpPr>
          <p:spPr>
            <a:xfrm>
              <a:off x="13363528" y="6466324"/>
              <a:ext cx="435095" cy="508192"/>
            </a:xfrm>
            <a:custGeom>
              <a:avLst/>
              <a:gdLst>
                <a:gd name="connsiteX0" fmla="*/ 249190 w 298455"/>
                <a:gd name="connsiteY0" fmla="*/ 92252 h 348595"/>
                <a:gd name="connsiteX1" fmla="*/ 298456 w 298455"/>
                <a:gd name="connsiteY1" fmla="*/ 194897 h 348595"/>
                <a:gd name="connsiteX2" fmla="*/ 276282 w 298455"/>
                <a:gd name="connsiteY2" fmla="*/ 199278 h 348595"/>
                <a:gd name="connsiteX3" fmla="*/ 269129 w 298455"/>
                <a:gd name="connsiteY3" fmla="*/ 215372 h 348595"/>
                <a:gd name="connsiteX4" fmla="*/ 273152 w 298455"/>
                <a:gd name="connsiteY4" fmla="*/ 223330 h 348595"/>
                <a:gd name="connsiteX5" fmla="*/ 219327 w 298455"/>
                <a:gd name="connsiteY5" fmla="*/ 332144 h 348595"/>
                <a:gd name="connsiteX6" fmla="*/ 197868 w 298455"/>
                <a:gd name="connsiteY6" fmla="*/ 348595 h 348595"/>
                <a:gd name="connsiteX7" fmla="*/ 163713 w 298455"/>
                <a:gd name="connsiteY7" fmla="*/ 318464 h 348595"/>
                <a:gd name="connsiteX8" fmla="*/ 69741 w 298455"/>
                <a:gd name="connsiteY8" fmla="*/ 308181 h 348595"/>
                <a:gd name="connsiteX9" fmla="*/ 54094 w 298455"/>
                <a:gd name="connsiteY9" fmla="*/ 281090 h 348595"/>
                <a:gd name="connsiteX10" fmla="*/ 0 w 298455"/>
                <a:gd name="connsiteY10" fmla="*/ 194092 h 348595"/>
                <a:gd name="connsiteX11" fmla="*/ 1162 w 298455"/>
                <a:gd name="connsiteY11" fmla="*/ 192572 h 348595"/>
                <a:gd name="connsiteX12" fmla="*/ 357 w 298455"/>
                <a:gd name="connsiteY12" fmla="*/ 190873 h 348595"/>
                <a:gd name="connsiteX13" fmla="*/ 66969 w 298455"/>
                <a:gd name="connsiteY13" fmla="*/ 179607 h 348595"/>
                <a:gd name="connsiteX14" fmla="*/ 93256 w 298455"/>
                <a:gd name="connsiteY14" fmla="*/ 133829 h 348595"/>
                <a:gd name="connsiteX15" fmla="*/ 137336 w 298455"/>
                <a:gd name="connsiteY15" fmla="*/ 95918 h 348595"/>
                <a:gd name="connsiteX16" fmla="*/ 169971 w 298455"/>
                <a:gd name="connsiteY16" fmla="*/ 60511 h 348595"/>
                <a:gd name="connsiteX17" fmla="*/ 200908 w 298455"/>
                <a:gd name="connsiteY17" fmla="*/ 9547 h 348595"/>
                <a:gd name="connsiteX18" fmla="*/ 215750 w 298455"/>
                <a:gd name="connsiteY18" fmla="*/ 5166 h 348595"/>
                <a:gd name="connsiteX19" fmla="*/ 291929 w 298455"/>
                <a:gd name="connsiteY19" fmla="*/ 56935 h 348595"/>
                <a:gd name="connsiteX20" fmla="*/ 267609 w 298455"/>
                <a:gd name="connsiteY20" fmla="*/ 77678 h 348595"/>
                <a:gd name="connsiteX21" fmla="*/ 249190 w 298455"/>
                <a:gd name="connsiteY21" fmla="*/ 92252 h 34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8455" h="348595">
                  <a:moveTo>
                    <a:pt x="249190" y="92252"/>
                  </a:moveTo>
                  <a:cubicBezTo>
                    <a:pt x="245077" y="136422"/>
                    <a:pt x="287905" y="156718"/>
                    <a:pt x="298456" y="194897"/>
                  </a:cubicBezTo>
                  <a:cubicBezTo>
                    <a:pt x="293717" y="200440"/>
                    <a:pt x="283792" y="195612"/>
                    <a:pt x="276282" y="199278"/>
                  </a:cubicBezTo>
                  <a:cubicBezTo>
                    <a:pt x="269308" y="202676"/>
                    <a:pt x="256164" y="202944"/>
                    <a:pt x="269129" y="215372"/>
                  </a:cubicBezTo>
                  <a:cubicBezTo>
                    <a:pt x="271185" y="217339"/>
                    <a:pt x="273242" y="223240"/>
                    <a:pt x="273152" y="223330"/>
                  </a:cubicBezTo>
                  <a:cubicBezTo>
                    <a:pt x="228983" y="246755"/>
                    <a:pt x="258578" y="306482"/>
                    <a:pt x="219327" y="332144"/>
                  </a:cubicBezTo>
                  <a:cubicBezTo>
                    <a:pt x="213068" y="336167"/>
                    <a:pt x="207524" y="341174"/>
                    <a:pt x="197868" y="348595"/>
                  </a:cubicBezTo>
                  <a:cubicBezTo>
                    <a:pt x="195365" y="326064"/>
                    <a:pt x="188033" y="317391"/>
                    <a:pt x="163713" y="318464"/>
                  </a:cubicBezTo>
                  <a:cubicBezTo>
                    <a:pt x="132865" y="319805"/>
                    <a:pt x="102197" y="305767"/>
                    <a:pt x="69741" y="308181"/>
                  </a:cubicBezTo>
                  <a:cubicBezTo>
                    <a:pt x="50696" y="309612"/>
                    <a:pt x="60263" y="290031"/>
                    <a:pt x="54094" y="281090"/>
                  </a:cubicBezTo>
                  <a:cubicBezTo>
                    <a:pt x="34781" y="253014"/>
                    <a:pt x="17882" y="223240"/>
                    <a:pt x="0" y="194092"/>
                  </a:cubicBezTo>
                  <a:lnTo>
                    <a:pt x="1162" y="192572"/>
                  </a:lnTo>
                  <a:lnTo>
                    <a:pt x="357" y="190873"/>
                  </a:lnTo>
                  <a:cubicBezTo>
                    <a:pt x="19492" y="171650"/>
                    <a:pt x="44438" y="187744"/>
                    <a:pt x="66969" y="179607"/>
                  </a:cubicBezTo>
                  <a:cubicBezTo>
                    <a:pt x="48640" y="149386"/>
                    <a:pt x="71887" y="139551"/>
                    <a:pt x="93256" y="133829"/>
                  </a:cubicBezTo>
                  <a:cubicBezTo>
                    <a:pt x="115520" y="127927"/>
                    <a:pt x="127858" y="116841"/>
                    <a:pt x="137336" y="95918"/>
                  </a:cubicBezTo>
                  <a:cubicBezTo>
                    <a:pt x="143327" y="82506"/>
                    <a:pt x="150390" y="68290"/>
                    <a:pt x="169971" y="60511"/>
                  </a:cubicBezTo>
                  <a:cubicBezTo>
                    <a:pt x="184903" y="54610"/>
                    <a:pt x="192950" y="28144"/>
                    <a:pt x="200908" y="9547"/>
                  </a:cubicBezTo>
                  <a:cubicBezTo>
                    <a:pt x="205557" y="-1362"/>
                    <a:pt x="210296" y="-3060"/>
                    <a:pt x="215750" y="5166"/>
                  </a:cubicBezTo>
                  <a:cubicBezTo>
                    <a:pt x="234437" y="33151"/>
                    <a:pt x="263407" y="45758"/>
                    <a:pt x="291929" y="56935"/>
                  </a:cubicBezTo>
                  <a:cubicBezTo>
                    <a:pt x="291214" y="75443"/>
                    <a:pt x="267609" y="60780"/>
                    <a:pt x="267609" y="77678"/>
                  </a:cubicBezTo>
                  <a:cubicBezTo>
                    <a:pt x="270827" y="94398"/>
                    <a:pt x="250889" y="81702"/>
                    <a:pt x="249190" y="9225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1" name="Freeform: Shape 10">
              <a:extLst>
                <a:ext uri="{FF2B5EF4-FFF2-40B4-BE49-F238E27FC236}">
                  <a16:creationId xmlns:a16="http://schemas.microsoft.com/office/drawing/2014/main" id="{3050D5AF-5AAA-807D-7662-70C44ECD3F9F}"/>
                </a:ext>
              </a:extLst>
            </p:cNvPr>
            <p:cNvSpPr/>
            <p:nvPr/>
          </p:nvSpPr>
          <p:spPr>
            <a:xfrm>
              <a:off x="10595514" y="7420636"/>
              <a:ext cx="328553" cy="589747"/>
            </a:xfrm>
            <a:custGeom>
              <a:avLst/>
              <a:gdLst>
                <a:gd name="connsiteX0" fmla="*/ 78487 w 225372"/>
                <a:gd name="connsiteY0" fmla="*/ 401317 h 404539"/>
                <a:gd name="connsiteX1" fmla="*/ 26807 w 225372"/>
                <a:gd name="connsiteY1" fmla="*/ 369934 h 404539"/>
                <a:gd name="connsiteX2" fmla="*/ 2309 w 225372"/>
                <a:gd name="connsiteY2" fmla="*/ 311637 h 404539"/>
                <a:gd name="connsiteX3" fmla="*/ 16346 w 225372"/>
                <a:gd name="connsiteY3" fmla="*/ 269167 h 404539"/>
                <a:gd name="connsiteX4" fmla="*/ 30563 w 225372"/>
                <a:gd name="connsiteY4" fmla="*/ 207294 h 404539"/>
                <a:gd name="connsiteX5" fmla="*/ 41560 w 225372"/>
                <a:gd name="connsiteY5" fmla="*/ 124946 h 404539"/>
                <a:gd name="connsiteX6" fmla="*/ 58191 w 225372"/>
                <a:gd name="connsiteY6" fmla="*/ 116362 h 404539"/>
                <a:gd name="connsiteX7" fmla="*/ 154845 w 225372"/>
                <a:gd name="connsiteY7" fmla="*/ 27756 h 404539"/>
                <a:gd name="connsiteX8" fmla="*/ 195884 w 225372"/>
                <a:gd name="connsiteY8" fmla="*/ 12466 h 404539"/>
                <a:gd name="connsiteX9" fmla="*/ 210191 w 225372"/>
                <a:gd name="connsiteY9" fmla="*/ 38843 h 404539"/>
                <a:gd name="connsiteX10" fmla="*/ 217701 w 225372"/>
                <a:gd name="connsiteY10" fmla="*/ 51181 h 404539"/>
                <a:gd name="connsiteX11" fmla="*/ 224407 w 225372"/>
                <a:gd name="connsiteY11" fmla="*/ 96871 h 404539"/>
                <a:gd name="connsiteX12" fmla="*/ 224049 w 225372"/>
                <a:gd name="connsiteY12" fmla="*/ 104650 h 404539"/>
                <a:gd name="connsiteX13" fmla="*/ 202501 w 225372"/>
                <a:gd name="connsiteY13" fmla="*/ 119134 h 404539"/>
                <a:gd name="connsiteX14" fmla="*/ 196957 w 225372"/>
                <a:gd name="connsiteY14" fmla="*/ 154720 h 404539"/>
                <a:gd name="connsiteX15" fmla="*/ 196957 w 225372"/>
                <a:gd name="connsiteY15" fmla="*/ 177609 h 404539"/>
                <a:gd name="connsiteX16" fmla="*/ 151089 w 225372"/>
                <a:gd name="connsiteY16" fmla="*/ 306809 h 404539"/>
                <a:gd name="connsiteX17" fmla="*/ 138303 w 225372"/>
                <a:gd name="connsiteY17" fmla="*/ 352945 h 404539"/>
                <a:gd name="connsiteX18" fmla="*/ 92793 w 225372"/>
                <a:gd name="connsiteY18" fmla="*/ 398545 h 404539"/>
                <a:gd name="connsiteX19" fmla="*/ 78666 w 225372"/>
                <a:gd name="connsiteY19" fmla="*/ 401317 h 404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5372" h="404539">
                  <a:moveTo>
                    <a:pt x="78487" y="401317"/>
                  </a:moveTo>
                  <a:cubicBezTo>
                    <a:pt x="54257" y="403105"/>
                    <a:pt x="26718" y="416785"/>
                    <a:pt x="26807" y="369934"/>
                  </a:cubicBezTo>
                  <a:cubicBezTo>
                    <a:pt x="26807" y="352767"/>
                    <a:pt x="8568" y="333007"/>
                    <a:pt x="2309" y="311637"/>
                  </a:cubicBezTo>
                  <a:cubicBezTo>
                    <a:pt x="-3861" y="290715"/>
                    <a:pt x="2845" y="278197"/>
                    <a:pt x="16346" y="269167"/>
                  </a:cubicBezTo>
                  <a:cubicBezTo>
                    <a:pt x="41918" y="252089"/>
                    <a:pt x="39504" y="230273"/>
                    <a:pt x="30563" y="207294"/>
                  </a:cubicBezTo>
                  <a:cubicBezTo>
                    <a:pt x="18850" y="177341"/>
                    <a:pt x="25377" y="150786"/>
                    <a:pt x="41560" y="124946"/>
                  </a:cubicBezTo>
                  <a:cubicBezTo>
                    <a:pt x="45494" y="118598"/>
                    <a:pt x="51843" y="117078"/>
                    <a:pt x="58191" y="116362"/>
                  </a:cubicBezTo>
                  <a:cubicBezTo>
                    <a:pt x="112285" y="110819"/>
                    <a:pt x="139466" y="67812"/>
                    <a:pt x="154845" y="27756"/>
                  </a:cubicBezTo>
                  <a:cubicBezTo>
                    <a:pt x="167541" y="-5416"/>
                    <a:pt x="172548" y="-6668"/>
                    <a:pt x="195884" y="12466"/>
                  </a:cubicBezTo>
                  <a:cubicBezTo>
                    <a:pt x="203038" y="19977"/>
                    <a:pt x="203306" y="31243"/>
                    <a:pt x="210191" y="38843"/>
                  </a:cubicBezTo>
                  <a:cubicBezTo>
                    <a:pt x="212694" y="42956"/>
                    <a:pt x="215198" y="47069"/>
                    <a:pt x="217701" y="51181"/>
                  </a:cubicBezTo>
                  <a:cubicBezTo>
                    <a:pt x="213052" y="67454"/>
                    <a:pt x="218416" y="82207"/>
                    <a:pt x="224407" y="96871"/>
                  </a:cubicBezTo>
                  <a:cubicBezTo>
                    <a:pt x="225748" y="99553"/>
                    <a:pt x="225748" y="102146"/>
                    <a:pt x="224049" y="104650"/>
                  </a:cubicBezTo>
                  <a:cubicBezTo>
                    <a:pt x="216539" y="108941"/>
                    <a:pt x="205452" y="108047"/>
                    <a:pt x="202501" y="119134"/>
                  </a:cubicBezTo>
                  <a:cubicBezTo>
                    <a:pt x="197673" y="130579"/>
                    <a:pt x="193739" y="142024"/>
                    <a:pt x="196957" y="154720"/>
                  </a:cubicBezTo>
                  <a:cubicBezTo>
                    <a:pt x="198388" y="162409"/>
                    <a:pt x="198478" y="170009"/>
                    <a:pt x="196957" y="177609"/>
                  </a:cubicBezTo>
                  <a:cubicBezTo>
                    <a:pt x="183009" y="221153"/>
                    <a:pt x="171207" y="265412"/>
                    <a:pt x="151089" y="306809"/>
                  </a:cubicBezTo>
                  <a:cubicBezTo>
                    <a:pt x="141880" y="320847"/>
                    <a:pt x="140360" y="336941"/>
                    <a:pt x="138303" y="352945"/>
                  </a:cubicBezTo>
                  <a:cubicBezTo>
                    <a:pt x="127932" y="372974"/>
                    <a:pt x="123908" y="399350"/>
                    <a:pt x="92793" y="398545"/>
                  </a:cubicBezTo>
                  <a:cubicBezTo>
                    <a:pt x="87697" y="397472"/>
                    <a:pt x="82600" y="396668"/>
                    <a:pt x="78666" y="40131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2" name="Freeform: Shape 11">
              <a:extLst>
                <a:ext uri="{FF2B5EF4-FFF2-40B4-BE49-F238E27FC236}">
                  <a16:creationId xmlns:a16="http://schemas.microsoft.com/office/drawing/2014/main" id="{9D5DEE05-7BD4-EA06-8766-E53C906AABFF}"/>
                </a:ext>
              </a:extLst>
            </p:cNvPr>
            <p:cNvSpPr/>
            <p:nvPr/>
          </p:nvSpPr>
          <p:spPr>
            <a:xfrm>
              <a:off x="8414667" y="3900073"/>
              <a:ext cx="298978" cy="568139"/>
            </a:xfrm>
            <a:custGeom>
              <a:avLst/>
              <a:gdLst>
                <a:gd name="connsiteX0" fmla="*/ 175604 w 205085"/>
                <a:gd name="connsiteY0" fmla="*/ 247822 h 389717"/>
                <a:gd name="connsiteX1" fmla="*/ 179091 w 205085"/>
                <a:gd name="connsiteY1" fmla="*/ 316043 h 389717"/>
                <a:gd name="connsiteX2" fmla="*/ 198494 w 205085"/>
                <a:gd name="connsiteY2" fmla="*/ 331600 h 389717"/>
                <a:gd name="connsiteX3" fmla="*/ 177124 w 205085"/>
                <a:gd name="connsiteY3" fmla="*/ 349751 h 389717"/>
                <a:gd name="connsiteX4" fmla="*/ 97995 w 205085"/>
                <a:gd name="connsiteY4" fmla="*/ 357262 h 389717"/>
                <a:gd name="connsiteX5" fmla="*/ 83600 w 205085"/>
                <a:gd name="connsiteY5" fmla="*/ 358960 h 389717"/>
                <a:gd name="connsiteX6" fmla="*/ 9835 w 205085"/>
                <a:gd name="connsiteY6" fmla="*/ 389718 h 389717"/>
                <a:gd name="connsiteX7" fmla="*/ 87623 w 205085"/>
                <a:gd name="connsiteY7" fmla="*/ 332942 h 389717"/>
                <a:gd name="connsiteX8" fmla="*/ 40146 w 205085"/>
                <a:gd name="connsiteY8" fmla="*/ 319619 h 389717"/>
                <a:gd name="connsiteX9" fmla="*/ 28880 w 205085"/>
                <a:gd name="connsiteY9" fmla="*/ 316400 h 389717"/>
                <a:gd name="connsiteX10" fmla="*/ 29774 w 205085"/>
                <a:gd name="connsiteY10" fmla="*/ 307906 h 389717"/>
                <a:gd name="connsiteX11" fmla="*/ 60710 w 205085"/>
                <a:gd name="connsiteY11" fmla="*/ 248716 h 389717"/>
                <a:gd name="connsiteX12" fmla="*/ 71976 w 205085"/>
                <a:gd name="connsiteY12" fmla="*/ 212951 h 389717"/>
                <a:gd name="connsiteX13" fmla="*/ 71350 w 205085"/>
                <a:gd name="connsiteY13" fmla="*/ 174773 h 389717"/>
                <a:gd name="connsiteX14" fmla="*/ 25125 w 205085"/>
                <a:gd name="connsiteY14" fmla="*/ 169944 h 389717"/>
                <a:gd name="connsiteX15" fmla="*/ 18687 w 205085"/>
                <a:gd name="connsiteY15" fmla="*/ 152956 h 389717"/>
                <a:gd name="connsiteX16" fmla="*/ 20028 w 205085"/>
                <a:gd name="connsiteY16" fmla="*/ 144194 h 389717"/>
                <a:gd name="connsiteX17" fmla="*/ 13322 w 205085"/>
                <a:gd name="connsiteY17" fmla="*/ 132839 h 389717"/>
                <a:gd name="connsiteX18" fmla="*/ 536 w 205085"/>
                <a:gd name="connsiteY18" fmla="*/ 116923 h 389717"/>
                <a:gd name="connsiteX19" fmla="*/ 0 w 205085"/>
                <a:gd name="connsiteY19" fmla="*/ 112006 h 389717"/>
                <a:gd name="connsiteX20" fmla="*/ 4381 w 205085"/>
                <a:gd name="connsiteY20" fmla="*/ 74453 h 389717"/>
                <a:gd name="connsiteX21" fmla="*/ 5007 w 205085"/>
                <a:gd name="connsiteY21" fmla="*/ 54782 h 389717"/>
                <a:gd name="connsiteX22" fmla="*/ 64913 w 205085"/>
                <a:gd name="connsiteY22" fmla="*/ 1046 h 389717"/>
                <a:gd name="connsiteX23" fmla="*/ 95491 w 205085"/>
                <a:gd name="connsiteY23" fmla="*/ 18660 h 389717"/>
                <a:gd name="connsiteX24" fmla="*/ 78414 w 205085"/>
                <a:gd name="connsiteY24" fmla="*/ 44232 h 389717"/>
                <a:gd name="connsiteX25" fmla="*/ 75016 w 205085"/>
                <a:gd name="connsiteY25" fmla="*/ 48613 h 389717"/>
                <a:gd name="connsiteX26" fmla="*/ 79576 w 205085"/>
                <a:gd name="connsiteY26" fmla="*/ 44768 h 389717"/>
                <a:gd name="connsiteX27" fmla="*/ 99783 w 205085"/>
                <a:gd name="connsiteY27" fmla="*/ 39403 h 389717"/>
                <a:gd name="connsiteX28" fmla="*/ 117487 w 205085"/>
                <a:gd name="connsiteY28" fmla="*/ 58448 h 389717"/>
                <a:gd name="connsiteX29" fmla="*/ 81364 w 205085"/>
                <a:gd name="connsiteY29" fmla="*/ 127384 h 389717"/>
                <a:gd name="connsiteX30" fmla="*/ 127053 w 205085"/>
                <a:gd name="connsiteY30" fmla="*/ 170660 h 389717"/>
                <a:gd name="connsiteX31" fmla="*/ 160583 w 205085"/>
                <a:gd name="connsiteY31" fmla="*/ 216170 h 389717"/>
                <a:gd name="connsiteX32" fmla="*/ 175604 w 205085"/>
                <a:gd name="connsiteY32" fmla="*/ 247643 h 38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5085" h="389717">
                  <a:moveTo>
                    <a:pt x="175604" y="247822"/>
                  </a:moveTo>
                  <a:cubicBezTo>
                    <a:pt x="217359" y="263826"/>
                    <a:pt x="211280" y="296909"/>
                    <a:pt x="179091" y="316043"/>
                  </a:cubicBezTo>
                  <a:cubicBezTo>
                    <a:pt x="180253" y="328382"/>
                    <a:pt x="200282" y="319798"/>
                    <a:pt x="198494" y="331600"/>
                  </a:cubicBezTo>
                  <a:cubicBezTo>
                    <a:pt x="197063" y="341078"/>
                    <a:pt x="186870" y="347784"/>
                    <a:pt x="177124" y="349751"/>
                  </a:cubicBezTo>
                  <a:cubicBezTo>
                    <a:pt x="151105" y="355116"/>
                    <a:pt x="125534" y="367633"/>
                    <a:pt x="97995" y="357262"/>
                  </a:cubicBezTo>
                  <a:cubicBezTo>
                    <a:pt x="92630" y="355205"/>
                    <a:pt x="86103" y="353149"/>
                    <a:pt x="83600" y="358960"/>
                  </a:cubicBezTo>
                  <a:cubicBezTo>
                    <a:pt x="68668" y="394278"/>
                    <a:pt x="32098" y="373356"/>
                    <a:pt x="9835" y="389718"/>
                  </a:cubicBezTo>
                  <a:cubicBezTo>
                    <a:pt x="25572" y="356904"/>
                    <a:pt x="49981" y="337144"/>
                    <a:pt x="87623" y="332942"/>
                  </a:cubicBezTo>
                  <a:cubicBezTo>
                    <a:pt x="70277" y="328739"/>
                    <a:pt x="54183" y="327845"/>
                    <a:pt x="40146" y="319619"/>
                  </a:cubicBezTo>
                  <a:cubicBezTo>
                    <a:pt x="36927" y="317742"/>
                    <a:pt x="32098" y="318457"/>
                    <a:pt x="28880" y="316400"/>
                  </a:cubicBezTo>
                  <a:cubicBezTo>
                    <a:pt x="27717" y="315685"/>
                    <a:pt x="28880" y="307996"/>
                    <a:pt x="29774" y="307906"/>
                  </a:cubicBezTo>
                  <a:cubicBezTo>
                    <a:pt x="66075" y="301648"/>
                    <a:pt x="25840" y="255601"/>
                    <a:pt x="60710" y="248716"/>
                  </a:cubicBezTo>
                  <a:cubicBezTo>
                    <a:pt x="85656" y="243798"/>
                    <a:pt x="94955" y="232354"/>
                    <a:pt x="71976" y="212951"/>
                  </a:cubicBezTo>
                  <a:cubicBezTo>
                    <a:pt x="56866" y="200165"/>
                    <a:pt x="68579" y="187827"/>
                    <a:pt x="71350" y="174773"/>
                  </a:cubicBezTo>
                  <a:cubicBezTo>
                    <a:pt x="55346" y="169408"/>
                    <a:pt x="38536" y="184429"/>
                    <a:pt x="25125" y="169944"/>
                  </a:cubicBezTo>
                  <a:cubicBezTo>
                    <a:pt x="19939" y="165384"/>
                    <a:pt x="18598" y="159483"/>
                    <a:pt x="18687" y="152956"/>
                  </a:cubicBezTo>
                  <a:cubicBezTo>
                    <a:pt x="18866" y="150006"/>
                    <a:pt x="19313" y="147055"/>
                    <a:pt x="20028" y="144194"/>
                  </a:cubicBezTo>
                  <a:cubicBezTo>
                    <a:pt x="20028" y="139097"/>
                    <a:pt x="31205" y="127653"/>
                    <a:pt x="13322" y="132839"/>
                  </a:cubicBezTo>
                  <a:cubicBezTo>
                    <a:pt x="5543" y="130335"/>
                    <a:pt x="804" y="125417"/>
                    <a:pt x="536" y="116923"/>
                  </a:cubicBezTo>
                  <a:cubicBezTo>
                    <a:pt x="268" y="115314"/>
                    <a:pt x="89" y="113704"/>
                    <a:pt x="0" y="112006"/>
                  </a:cubicBezTo>
                  <a:cubicBezTo>
                    <a:pt x="5543" y="100025"/>
                    <a:pt x="7958" y="87596"/>
                    <a:pt x="4381" y="74453"/>
                  </a:cubicBezTo>
                  <a:cubicBezTo>
                    <a:pt x="3755" y="67836"/>
                    <a:pt x="3934" y="61309"/>
                    <a:pt x="5007" y="54782"/>
                  </a:cubicBezTo>
                  <a:cubicBezTo>
                    <a:pt x="11981" y="22415"/>
                    <a:pt x="33529" y="6053"/>
                    <a:pt x="64913" y="1046"/>
                  </a:cubicBezTo>
                  <a:cubicBezTo>
                    <a:pt x="79487" y="-1279"/>
                    <a:pt x="93524" y="-1368"/>
                    <a:pt x="95491" y="18660"/>
                  </a:cubicBezTo>
                  <a:cubicBezTo>
                    <a:pt x="94776" y="30552"/>
                    <a:pt x="85835" y="37079"/>
                    <a:pt x="78414" y="44232"/>
                  </a:cubicBezTo>
                  <a:cubicBezTo>
                    <a:pt x="77073" y="45394"/>
                    <a:pt x="75821" y="46825"/>
                    <a:pt x="75016" y="48613"/>
                  </a:cubicBezTo>
                  <a:cubicBezTo>
                    <a:pt x="76447" y="47272"/>
                    <a:pt x="77877" y="46020"/>
                    <a:pt x="79576" y="44768"/>
                  </a:cubicBezTo>
                  <a:cubicBezTo>
                    <a:pt x="85835" y="40655"/>
                    <a:pt x="92451" y="38867"/>
                    <a:pt x="99783" y="39403"/>
                  </a:cubicBezTo>
                  <a:cubicBezTo>
                    <a:pt x="110155" y="41549"/>
                    <a:pt x="118917" y="45305"/>
                    <a:pt x="117487" y="58448"/>
                  </a:cubicBezTo>
                  <a:cubicBezTo>
                    <a:pt x="104433" y="80354"/>
                    <a:pt x="117218" y="114152"/>
                    <a:pt x="81364" y="127384"/>
                  </a:cubicBezTo>
                  <a:cubicBezTo>
                    <a:pt x="113374" y="128368"/>
                    <a:pt x="123835" y="145446"/>
                    <a:pt x="127053" y="170660"/>
                  </a:cubicBezTo>
                  <a:cubicBezTo>
                    <a:pt x="129736" y="191582"/>
                    <a:pt x="158437" y="194264"/>
                    <a:pt x="160583" y="216170"/>
                  </a:cubicBezTo>
                  <a:cubicBezTo>
                    <a:pt x="169524" y="224754"/>
                    <a:pt x="163534" y="240490"/>
                    <a:pt x="175604" y="24764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3" name="Freeform: Shape 12">
              <a:extLst>
                <a:ext uri="{FF2B5EF4-FFF2-40B4-BE49-F238E27FC236}">
                  <a16:creationId xmlns:a16="http://schemas.microsoft.com/office/drawing/2014/main" id="{65ED72C3-2854-5F13-A20B-7EA764E4DC3F}"/>
                </a:ext>
              </a:extLst>
            </p:cNvPr>
            <p:cNvSpPr/>
            <p:nvPr/>
          </p:nvSpPr>
          <p:spPr>
            <a:xfrm>
              <a:off x="12711666" y="6565384"/>
              <a:ext cx="531250" cy="498141"/>
            </a:xfrm>
            <a:custGeom>
              <a:avLst/>
              <a:gdLst>
                <a:gd name="connsiteX0" fmla="*/ 201087 w 364413"/>
                <a:gd name="connsiteY0" fmla="*/ 111389 h 341702"/>
                <a:gd name="connsiteX1" fmla="*/ 201355 w 364413"/>
                <a:gd name="connsiteY1" fmla="*/ 117379 h 341702"/>
                <a:gd name="connsiteX2" fmla="*/ 220042 w 364413"/>
                <a:gd name="connsiteY2" fmla="*/ 124800 h 341702"/>
                <a:gd name="connsiteX3" fmla="*/ 319468 w 364413"/>
                <a:gd name="connsiteY3" fmla="*/ 215911 h 341702"/>
                <a:gd name="connsiteX4" fmla="*/ 356484 w 364413"/>
                <a:gd name="connsiteY4" fmla="*/ 237995 h 341702"/>
                <a:gd name="connsiteX5" fmla="*/ 357646 w 364413"/>
                <a:gd name="connsiteY5" fmla="*/ 242287 h 341702"/>
                <a:gd name="connsiteX6" fmla="*/ 359167 w 364413"/>
                <a:gd name="connsiteY6" fmla="*/ 309078 h 341702"/>
                <a:gd name="connsiteX7" fmla="*/ 358988 w 364413"/>
                <a:gd name="connsiteY7" fmla="*/ 337958 h 341702"/>
                <a:gd name="connsiteX8" fmla="*/ 313835 w 364413"/>
                <a:gd name="connsiteY8" fmla="*/ 331878 h 341702"/>
                <a:gd name="connsiteX9" fmla="*/ 228357 w 364413"/>
                <a:gd name="connsiteY9" fmla="*/ 261511 h 341702"/>
                <a:gd name="connsiteX10" fmla="*/ 163534 w 364413"/>
                <a:gd name="connsiteY10" fmla="*/ 183276 h 341702"/>
                <a:gd name="connsiteX11" fmla="*/ 147440 w 364413"/>
                <a:gd name="connsiteY11" fmla="*/ 169238 h 341702"/>
                <a:gd name="connsiteX12" fmla="*/ 19224 w 364413"/>
                <a:gd name="connsiteY12" fmla="*/ 43615 h 341702"/>
                <a:gd name="connsiteX13" fmla="*/ 0 w 364413"/>
                <a:gd name="connsiteY13" fmla="*/ 18669 h 341702"/>
                <a:gd name="connsiteX14" fmla="*/ 18061 w 364413"/>
                <a:gd name="connsiteY14" fmla="*/ 250 h 341702"/>
                <a:gd name="connsiteX15" fmla="*/ 18061 w 364413"/>
                <a:gd name="connsiteY15" fmla="*/ 250 h 341702"/>
                <a:gd name="connsiteX16" fmla="*/ 50697 w 364413"/>
                <a:gd name="connsiteY16" fmla="*/ 6151 h 341702"/>
                <a:gd name="connsiteX17" fmla="*/ 141718 w 364413"/>
                <a:gd name="connsiteY17" fmla="*/ 73300 h 341702"/>
                <a:gd name="connsiteX18" fmla="*/ 193934 w 364413"/>
                <a:gd name="connsiteY18" fmla="*/ 100212 h 341702"/>
                <a:gd name="connsiteX19" fmla="*/ 201176 w 364413"/>
                <a:gd name="connsiteY19" fmla="*/ 111568 h 341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4413" h="341702">
                  <a:moveTo>
                    <a:pt x="201087" y="111389"/>
                  </a:moveTo>
                  <a:cubicBezTo>
                    <a:pt x="200282" y="113445"/>
                    <a:pt x="200372" y="115412"/>
                    <a:pt x="201355" y="117379"/>
                  </a:cubicBezTo>
                  <a:cubicBezTo>
                    <a:pt x="206541" y="122565"/>
                    <a:pt x="216019" y="116664"/>
                    <a:pt x="220042" y="124800"/>
                  </a:cubicBezTo>
                  <a:cubicBezTo>
                    <a:pt x="255449" y="152697"/>
                    <a:pt x="290051" y="181398"/>
                    <a:pt x="319468" y="215911"/>
                  </a:cubicBezTo>
                  <a:cubicBezTo>
                    <a:pt x="331181" y="224316"/>
                    <a:pt x="347722" y="224673"/>
                    <a:pt x="356484" y="237995"/>
                  </a:cubicBezTo>
                  <a:cubicBezTo>
                    <a:pt x="356842" y="239426"/>
                    <a:pt x="357199" y="240857"/>
                    <a:pt x="357646" y="242287"/>
                  </a:cubicBezTo>
                  <a:cubicBezTo>
                    <a:pt x="355769" y="264551"/>
                    <a:pt x="352282" y="286546"/>
                    <a:pt x="359167" y="309078"/>
                  </a:cubicBezTo>
                  <a:cubicBezTo>
                    <a:pt x="361938" y="318108"/>
                    <a:pt x="369538" y="334024"/>
                    <a:pt x="358988" y="337958"/>
                  </a:cubicBezTo>
                  <a:cubicBezTo>
                    <a:pt x="345218" y="343054"/>
                    <a:pt x="327604" y="344574"/>
                    <a:pt x="313835" y="331878"/>
                  </a:cubicBezTo>
                  <a:cubicBezTo>
                    <a:pt x="286653" y="306843"/>
                    <a:pt x="249369" y="293967"/>
                    <a:pt x="228357" y="261511"/>
                  </a:cubicBezTo>
                  <a:cubicBezTo>
                    <a:pt x="195633" y="244612"/>
                    <a:pt x="180969" y="212871"/>
                    <a:pt x="163534" y="183276"/>
                  </a:cubicBezTo>
                  <a:cubicBezTo>
                    <a:pt x="159778" y="176749"/>
                    <a:pt x="154056" y="172457"/>
                    <a:pt x="147440" y="169238"/>
                  </a:cubicBezTo>
                  <a:cubicBezTo>
                    <a:pt x="113374" y="118542"/>
                    <a:pt x="58922" y="88589"/>
                    <a:pt x="19224" y="43615"/>
                  </a:cubicBezTo>
                  <a:cubicBezTo>
                    <a:pt x="12160" y="35657"/>
                    <a:pt x="1788" y="30650"/>
                    <a:pt x="0" y="18669"/>
                  </a:cubicBezTo>
                  <a:cubicBezTo>
                    <a:pt x="715" y="7314"/>
                    <a:pt x="3934" y="-1627"/>
                    <a:pt x="18061" y="250"/>
                  </a:cubicBezTo>
                  <a:lnTo>
                    <a:pt x="18061" y="250"/>
                  </a:lnTo>
                  <a:cubicBezTo>
                    <a:pt x="27896" y="8029"/>
                    <a:pt x="40593" y="-286"/>
                    <a:pt x="50697" y="6151"/>
                  </a:cubicBezTo>
                  <a:cubicBezTo>
                    <a:pt x="88965" y="17775"/>
                    <a:pt x="111139" y="51304"/>
                    <a:pt x="141718" y="73300"/>
                  </a:cubicBezTo>
                  <a:cubicBezTo>
                    <a:pt x="157722" y="84833"/>
                    <a:pt x="167915" y="108081"/>
                    <a:pt x="193934" y="100212"/>
                  </a:cubicBezTo>
                  <a:cubicBezTo>
                    <a:pt x="199656" y="101911"/>
                    <a:pt x="197063" y="108885"/>
                    <a:pt x="201176" y="11156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4" name="Freeform: Shape 13">
              <a:extLst>
                <a:ext uri="{FF2B5EF4-FFF2-40B4-BE49-F238E27FC236}">
                  <a16:creationId xmlns:a16="http://schemas.microsoft.com/office/drawing/2014/main" id="{3F4883A8-D57F-4626-5CA1-B9CE3E4978C4}"/>
                </a:ext>
              </a:extLst>
            </p:cNvPr>
            <p:cNvSpPr/>
            <p:nvPr/>
          </p:nvSpPr>
          <p:spPr>
            <a:xfrm>
              <a:off x="13975374" y="4911401"/>
              <a:ext cx="398775" cy="389863"/>
            </a:xfrm>
            <a:custGeom>
              <a:avLst/>
              <a:gdLst>
                <a:gd name="connsiteX0" fmla="*/ 179 w 273541"/>
                <a:gd name="connsiteY0" fmla="*/ 241942 h 267428"/>
                <a:gd name="connsiteX1" fmla="*/ 65807 w 273541"/>
                <a:gd name="connsiteY1" fmla="*/ 183735 h 267428"/>
                <a:gd name="connsiteX2" fmla="*/ 115252 w 273541"/>
                <a:gd name="connsiteY2" fmla="*/ 188474 h 267428"/>
                <a:gd name="connsiteX3" fmla="*/ 126965 w 273541"/>
                <a:gd name="connsiteY3" fmla="*/ 185702 h 267428"/>
                <a:gd name="connsiteX4" fmla="*/ 136889 w 273541"/>
                <a:gd name="connsiteY4" fmla="*/ 129283 h 267428"/>
                <a:gd name="connsiteX5" fmla="*/ 143684 w 273541"/>
                <a:gd name="connsiteY5" fmla="*/ 117392 h 267428"/>
                <a:gd name="connsiteX6" fmla="*/ 149407 w 273541"/>
                <a:gd name="connsiteY6" fmla="*/ 126422 h 267428"/>
                <a:gd name="connsiteX7" fmla="*/ 167826 w 273541"/>
                <a:gd name="connsiteY7" fmla="*/ 130714 h 267428"/>
                <a:gd name="connsiteX8" fmla="*/ 198583 w 273541"/>
                <a:gd name="connsiteY8" fmla="*/ 36832 h 267428"/>
                <a:gd name="connsiteX9" fmla="*/ 226837 w 273541"/>
                <a:gd name="connsiteY9" fmla="*/ 11528 h 267428"/>
                <a:gd name="connsiteX10" fmla="*/ 239444 w 273541"/>
                <a:gd name="connsiteY10" fmla="*/ 1872 h 267428"/>
                <a:gd name="connsiteX11" fmla="*/ 258131 w 273541"/>
                <a:gd name="connsiteY11" fmla="*/ 41660 h 267428"/>
                <a:gd name="connsiteX12" fmla="*/ 260813 w 273541"/>
                <a:gd name="connsiteY12" fmla="*/ 94592 h 267428"/>
                <a:gd name="connsiteX13" fmla="*/ 252230 w 273541"/>
                <a:gd name="connsiteY13" fmla="*/ 106662 h 267428"/>
                <a:gd name="connsiteX14" fmla="*/ 265910 w 273541"/>
                <a:gd name="connsiteY14" fmla="*/ 183109 h 267428"/>
                <a:gd name="connsiteX15" fmla="*/ 257863 w 273541"/>
                <a:gd name="connsiteY15" fmla="*/ 211721 h 267428"/>
                <a:gd name="connsiteX16" fmla="*/ 189106 w 273541"/>
                <a:gd name="connsiteY16" fmla="*/ 227904 h 267428"/>
                <a:gd name="connsiteX17" fmla="*/ 177482 w 273541"/>
                <a:gd name="connsiteY17" fmla="*/ 223165 h 267428"/>
                <a:gd name="connsiteX18" fmla="*/ 180522 w 273541"/>
                <a:gd name="connsiteY18" fmla="*/ 236756 h 267428"/>
                <a:gd name="connsiteX19" fmla="*/ 180522 w 273541"/>
                <a:gd name="connsiteY19" fmla="*/ 239081 h 267428"/>
                <a:gd name="connsiteX20" fmla="*/ 153162 w 273541"/>
                <a:gd name="connsiteY20" fmla="*/ 267067 h 267428"/>
                <a:gd name="connsiteX21" fmla="*/ 122941 w 273541"/>
                <a:gd name="connsiteY21" fmla="*/ 234968 h 267428"/>
                <a:gd name="connsiteX22" fmla="*/ 70635 w 273541"/>
                <a:gd name="connsiteY22" fmla="*/ 234610 h 267428"/>
                <a:gd name="connsiteX23" fmla="*/ 11802 w 273541"/>
                <a:gd name="connsiteY23" fmla="*/ 248558 h 267428"/>
                <a:gd name="connsiteX24" fmla="*/ 0 w 273541"/>
                <a:gd name="connsiteY24" fmla="*/ 241763 h 267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3541" h="267428">
                  <a:moveTo>
                    <a:pt x="179" y="241942"/>
                  </a:moveTo>
                  <a:cubicBezTo>
                    <a:pt x="6080" y="210827"/>
                    <a:pt x="37463" y="181500"/>
                    <a:pt x="65807" y="183735"/>
                  </a:cubicBezTo>
                  <a:cubicBezTo>
                    <a:pt x="82080" y="185076"/>
                    <a:pt x="100052" y="172469"/>
                    <a:pt x="115252" y="188474"/>
                  </a:cubicBezTo>
                  <a:cubicBezTo>
                    <a:pt x="116682" y="189904"/>
                    <a:pt x="122941" y="186686"/>
                    <a:pt x="126965" y="185702"/>
                  </a:cubicBezTo>
                  <a:cubicBezTo>
                    <a:pt x="113374" y="163975"/>
                    <a:pt x="143595" y="150027"/>
                    <a:pt x="136889" y="129283"/>
                  </a:cubicBezTo>
                  <a:cubicBezTo>
                    <a:pt x="135101" y="123829"/>
                    <a:pt x="136263" y="118107"/>
                    <a:pt x="143684" y="117392"/>
                  </a:cubicBezTo>
                  <a:cubicBezTo>
                    <a:pt x="150658" y="116766"/>
                    <a:pt x="148870" y="122756"/>
                    <a:pt x="149407" y="126422"/>
                  </a:cubicBezTo>
                  <a:cubicBezTo>
                    <a:pt x="152000" y="143947"/>
                    <a:pt x="157812" y="138493"/>
                    <a:pt x="167826" y="130714"/>
                  </a:cubicBezTo>
                  <a:cubicBezTo>
                    <a:pt x="199477" y="105947"/>
                    <a:pt x="207971" y="74921"/>
                    <a:pt x="198583" y="36832"/>
                  </a:cubicBezTo>
                  <a:cubicBezTo>
                    <a:pt x="192592" y="12422"/>
                    <a:pt x="212978" y="15105"/>
                    <a:pt x="226837" y="11528"/>
                  </a:cubicBezTo>
                  <a:cubicBezTo>
                    <a:pt x="233096" y="11081"/>
                    <a:pt x="227106" y="-5460"/>
                    <a:pt x="239444" y="1872"/>
                  </a:cubicBezTo>
                  <a:cubicBezTo>
                    <a:pt x="239176" y="18234"/>
                    <a:pt x="245971" y="31020"/>
                    <a:pt x="258131" y="41660"/>
                  </a:cubicBezTo>
                  <a:cubicBezTo>
                    <a:pt x="277176" y="58201"/>
                    <a:pt x="279143" y="76352"/>
                    <a:pt x="260813" y="94592"/>
                  </a:cubicBezTo>
                  <a:cubicBezTo>
                    <a:pt x="256879" y="98436"/>
                    <a:pt x="249726" y="103533"/>
                    <a:pt x="252230" y="106662"/>
                  </a:cubicBezTo>
                  <a:cubicBezTo>
                    <a:pt x="271275" y="129999"/>
                    <a:pt x="251604" y="159862"/>
                    <a:pt x="265910" y="183109"/>
                  </a:cubicBezTo>
                  <a:cubicBezTo>
                    <a:pt x="274494" y="197057"/>
                    <a:pt x="265463" y="210469"/>
                    <a:pt x="257863" y="211721"/>
                  </a:cubicBezTo>
                  <a:cubicBezTo>
                    <a:pt x="234437" y="215476"/>
                    <a:pt x="214945" y="235951"/>
                    <a:pt x="189106" y="227904"/>
                  </a:cubicBezTo>
                  <a:cubicBezTo>
                    <a:pt x="185261" y="226205"/>
                    <a:pt x="180969" y="225669"/>
                    <a:pt x="177482" y="223165"/>
                  </a:cubicBezTo>
                  <a:cubicBezTo>
                    <a:pt x="175783" y="228262"/>
                    <a:pt x="180254" y="232107"/>
                    <a:pt x="180522" y="236756"/>
                  </a:cubicBezTo>
                  <a:lnTo>
                    <a:pt x="180522" y="239081"/>
                  </a:lnTo>
                  <a:cubicBezTo>
                    <a:pt x="168630" y="245697"/>
                    <a:pt x="158706" y="254281"/>
                    <a:pt x="153162" y="267067"/>
                  </a:cubicBezTo>
                  <a:cubicBezTo>
                    <a:pt x="128127" y="270464"/>
                    <a:pt x="129379" y="249184"/>
                    <a:pt x="122941" y="234968"/>
                  </a:cubicBezTo>
                  <a:cubicBezTo>
                    <a:pt x="105595" y="219052"/>
                    <a:pt x="88070" y="228262"/>
                    <a:pt x="70635" y="234610"/>
                  </a:cubicBezTo>
                  <a:cubicBezTo>
                    <a:pt x="49892" y="234610"/>
                    <a:pt x="34871" y="258483"/>
                    <a:pt x="11802" y="248558"/>
                  </a:cubicBezTo>
                  <a:cubicBezTo>
                    <a:pt x="7153" y="247485"/>
                    <a:pt x="3040" y="245608"/>
                    <a:pt x="0" y="24176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6" name="Freeform: Shape 15">
              <a:extLst>
                <a:ext uri="{FF2B5EF4-FFF2-40B4-BE49-F238E27FC236}">
                  <a16:creationId xmlns:a16="http://schemas.microsoft.com/office/drawing/2014/main" id="{9604D7D0-6749-6276-B5EC-C6449A6E3A96}"/>
                </a:ext>
              </a:extLst>
            </p:cNvPr>
            <p:cNvSpPr/>
            <p:nvPr/>
          </p:nvSpPr>
          <p:spPr>
            <a:xfrm>
              <a:off x="10500729" y="2460601"/>
              <a:ext cx="479916" cy="339102"/>
            </a:xfrm>
            <a:custGeom>
              <a:avLst/>
              <a:gdLst>
                <a:gd name="connsiteX0" fmla="*/ 0 w 329200"/>
                <a:gd name="connsiteY0" fmla="*/ 195734 h 232608"/>
                <a:gd name="connsiteX1" fmla="*/ 30668 w 329200"/>
                <a:gd name="connsiteY1" fmla="*/ 159433 h 232608"/>
                <a:gd name="connsiteX2" fmla="*/ 36212 w 329200"/>
                <a:gd name="connsiteY2" fmla="*/ 156393 h 232608"/>
                <a:gd name="connsiteX3" fmla="*/ 38626 w 329200"/>
                <a:gd name="connsiteY3" fmla="*/ 121255 h 232608"/>
                <a:gd name="connsiteX4" fmla="*/ 69116 w 329200"/>
                <a:gd name="connsiteY4" fmla="*/ 102299 h 232608"/>
                <a:gd name="connsiteX5" fmla="*/ 80381 w 329200"/>
                <a:gd name="connsiteY5" fmla="*/ 91749 h 232608"/>
                <a:gd name="connsiteX6" fmla="*/ 195007 w 329200"/>
                <a:gd name="connsiteY6" fmla="*/ 47222 h 232608"/>
                <a:gd name="connsiteX7" fmla="*/ 269934 w 329200"/>
                <a:gd name="connsiteY7" fmla="*/ 12262 h 232608"/>
                <a:gd name="connsiteX8" fmla="*/ 328409 w 329200"/>
                <a:gd name="connsiteY8" fmla="*/ 25852 h 232608"/>
                <a:gd name="connsiteX9" fmla="*/ 304983 w 329200"/>
                <a:gd name="connsiteY9" fmla="*/ 59203 h 232608"/>
                <a:gd name="connsiteX10" fmla="*/ 184277 w 329200"/>
                <a:gd name="connsiteY10" fmla="*/ 106949 h 232608"/>
                <a:gd name="connsiteX11" fmla="*/ 156113 w 329200"/>
                <a:gd name="connsiteY11" fmla="*/ 128050 h 232608"/>
                <a:gd name="connsiteX12" fmla="*/ 115609 w 329200"/>
                <a:gd name="connsiteY12" fmla="*/ 158986 h 232608"/>
                <a:gd name="connsiteX13" fmla="*/ 85835 w 329200"/>
                <a:gd name="connsiteY13" fmla="*/ 195645 h 232608"/>
                <a:gd name="connsiteX14" fmla="*/ 73049 w 329200"/>
                <a:gd name="connsiteY14" fmla="*/ 215494 h 232608"/>
                <a:gd name="connsiteX15" fmla="*/ 70725 w 329200"/>
                <a:gd name="connsiteY15" fmla="*/ 221396 h 232608"/>
                <a:gd name="connsiteX16" fmla="*/ 59727 w 329200"/>
                <a:gd name="connsiteY16" fmla="*/ 230873 h 232608"/>
                <a:gd name="connsiteX17" fmla="*/ 0 w 329200"/>
                <a:gd name="connsiteY17" fmla="*/ 195913 h 23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9200" h="232608">
                  <a:moveTo>
                    <a:pt x="0" y="195734"/>
                  </a:moveTo>
                  <a:cubicBezTo>
                    <a:pt x="7958" y="181786"/>
                    <a:pt x="24946" y="175349"/>
                    <a:pt x="30668" y="159433"/>
                  </a:cubicBezTo>
                  <a:cubicBezTo>
                    <a:pt x="31205" y="157913"/>
                    <a:pt x="34424" y="157466"/>
                    <a:pt x="36212" y="156393"/>
                  </a:cubicBezTo>
                  <a:cubicBezTo>
                    <a:pt x="54094" y="145932"/>
                    <a:pt x="19939" y="131984"/>
                    <a:pt x="38626" y="121255"/>
                  </a:cubicBezTo>
                  <a:cubicBezTo>
                    <a:pt x="48819" y="115353"/>
                    <a:pt x="69473" y="126530"/>
                    <a:pt x="69116" y="102299"/>
                  </a:cubicBezTo>
                  <a:cubicBezTo>
                    <a:pt x="69116" y="98723"/>
                    <a:pt x="75821" y="93269"/>
                    <a:pt x="80381" y="91749"/>
                  </a:cubicBezTo>
                  <a:cubicBezTo>
                    <a:pt x="119186" y="78963"/>
                    <a:pt x="150122" y="48921"/>
                    <a:pt x="195007" y="47222"/>
                  </a:cubicBezTo>
                  <a:cubicBezTo>
                    <a:pt x="221473" y="46149"/>
                    <a:pt x="248654" y="34168"/>
                    <a:pt x="269934" y="12262"/>
                  </a:cubicBezTo>
                  <a:cubicBezTo>
                    <a:pt x="291035" y="-9465"/>
                    <a:pt x="321435" y="-703"/>
                    <a:pt x="328409" y="25852"/>
                  </a:cubicBezTo>
                  <a:cubicBezTo>
                    <a:pt x="332522" y="45255"/>
                    <a:pt x="320004" y="54017"/>
                    <a:pt x="304983" y="59203"/>
                  </a:cubicBezTo>
                  <a:cubicBezTo>
                    <a:pt x="263943" y="73241"/>
                    <a:pt x="225764" y="94163"/>
                    <a:pt x="184277" y="106949"/>
                  </a:cubicBezTo>
                  <a:cubicBezTo>
                    <a:pt x="172117" y="110704"/>
                    <a:pt x="163713" y="118840"/>
                    <a:pt x="156113" y="128050"/>
                  </a:cubicBezTo>
                  <a:cubicBezTo>
                    <a:pt x="145026" y="141551"/>
                    <a:pt x="134207" y="154516"/>
                    <a:pt x="115609" y="158986"/>
                  </a:cubicBezTo>
                  <a:cubicBezTo>
                    <a:pt x="97101" y="163367"/>
                    <a:pt x="95402" y="183038"/>
                    <a:pt x="85835" y="195645"/>
                  </a:cubicBezTo>
                  <a:cubicBezTo>
                    <a:pt x="81365" y="202172"/>
                    <a:pt x="76536" y="208431"/>
                    <a:pt x="73049" y="215494"/>
                  </a:cubicBezTo>
                  <a:cubicBezTo>
                    <a:pt x="71351" y="217104"/>
                    <a:pt x="70546" y="219071"/>
                    <a:pt x="70725" y="221396"/>
                  </a:cubicBezTo>
                  <a:cubicBezTo>
                    <a:pt x="67059" y="224525"/>
                    <a:pt x="63393" y="227744"/>
                    <a:pt x="59727" y="230873"/>
                  </a:cubicBezTo>
                  <a:cubicBezTo>
                    <a:pt x="12696" y="235433"/>
                    <a:pt x="9031" y="233287"/>
                    <a:pt x="0" y="1959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7" name="Freeform: Shape 16">
              <a:extLst>
                <a:ext uri="{FF2B5EF4-FFF2-40B4-BE49-F238E27FC236}">
                  <a16:creationId xmlns:a16="http://schemas.microsoft.com/office/drawing/2014/main" id="{C9BED5A7-B2DC-4AA0-0FD2-EA9BD7082251}"/>
                </a:ext>
              </a:extLst>
            </p:cNvPr>
            <p:cNvSpPr/>
            <p:nvPr/>
          </p:nvSpPr>
          <p:spPr>
            <a:xfrm>
              <a:off x="16260347" y="8438129"/>
              <a:ext cx="244867" cy="342339"/>
            </a:xfrm>
            <a:custGeom>
              <a:avLst/>
              <a:gdLst>
                <a:gd name="connsiteX0" fmla="*/ 157722 w 167968"/>
                <a:gd name="connsiteY0" fmla="*/ 85689 h 234829"/>
                <a:gd name="connsiteX1" fmla="*/ 138051 w 167968"/>
                <a:gd name="connsiteY1" fmla="*/ 130663 h 234829"/>
                <a:gd name="connsiteX2" fmla="*/ 107204 w 167968"/>
                <a:gd name="connsiteY2" fmla="*/ 138174 h 234829"/>
                <a:gd name="connsiteX3" fmla="*/ 40056 w 167968"/>
                <a:gd name="connsiteY3" fmla="*/ 234827 h 234829"/>
                <a:gd name="connsiteX4" fmla="*/ 32634 w 167968"/>
                <a:gd name="connsiteY4" fmla="*/ 229731 h 234829"/>
                <a:gd name="connsiteX5" fmla="*/ 20207 w 167968"/>
                <a:gd name="connsiteY5" fmla="*/ 216677 h 234829"/>
                <a:gd name="connsiteX6" fmla="*/ 12964 w 167968"/>
                <a:gd name="connsiteY6" fmla="*/ 161957 h 234829"/>
                <a:gd name="connsiteX7" fmla="*/ 0 w 167968"/>
                <a:gd name="connsiteY7" fmla="*/ 144701 h 234829"/>
                <a:gd name="connsiteX8" fmla="*/ 2682 w 167968"/>
                <a:gd name="connsiteY8" fmla="*/ 119129 h 234829"/>
                <a:gd name="connsiteX9" fmla="*/ 44527 w 167968"/>
                <a:gd name="connsiteY9" fmla="*/ 65840 h 234829"/>
                <a:gd name="connsiteX10" fmla="*/ 43900 w 167968"/>
                <a:gd name="connsiteY10" fmla="*/ 29896 h 234829"/>
                <a:gd name="connsiteX11" fmla="*/ 59995 w 167968"/>
                <a:gd name="connsiteY11" fmla="*/ 13802 h 234829"/>
                <a:gd name="connsiteX12" fmla="*/ 72065 w 167968"/>
                <a:gd name="connsiteY12" fmla="*/ 17826 h 234829"/>
                <a:gd name="connsiteX13" fmla="*/ 73586 w 167968"/>
                <a:gd name="connsiteY13" fmla="*/ 4503 h 234829"/>
                <a:gd name="connsiteX14" fmla="*/ 91557 w 167968"/>
                <a:gd name="connsiteY14" fmla="*/ 16842 h 234829"/>
                <a:gd name="connsiteX15" fmla="*/ 141449 w 167968"/>
                <a:gd name="connsiteY15" fmla="*/ 54216 h 234829"/>
                <a:gd name="connsiteX16" fmla="*/ 164964 w 167968"/>
                <a:gd name="connsiteY16" fmla="*/ 59670 h 234829"/>
                <a:gd name="connsiteX17" fmla="*/ 157811 w 167968"/>
                <a:gd name="connsiteY17" fmla="*/ 85689 h 23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968" h="234829">
                  <a:moveTo>
                    <a:pt x="157722" y="85689"/>
                  </a:moveTo>
                  <a:cubicBezTo>
                    <a:pt x="149048" y="99727"/>
                    <a:pt x="136442" y="112065"/>
                    <a:pt x="138051" y="130663"/>
                  </a:cubicBezTo>
                  <a:cubicBezTo>
                    <a:pt x="129647" y="140767"/>
                    <a:pt x="115967" y="129411"/>
                    <a:pt x="107204" y="138174"/>
                  </a:cubicBezTo>
                  <a:cubicBezTo>
                    <a:pt x="100678" y="181359"/>
                    <a:pt x="63571" y="203444"/>
                    <a:pt x="40056" y="234827"/>
                  </a:cubicBezTo>
                  <a:cubicBezTo>
                    <a:pt x="40056" y="234917"/>
                    <a:pt x="35228" y="231519"/>
                    <a:pt x="32634" y="229731"/>
                  </a:cubicBezTo>
                  <a:cubicBezTo>
                    <a:pt x="29774" y="224098"/>
                    <a:pt x="16630" y="228301"/>
                    <a:pt x="20207" y="216677"/>
                  </a:cubicBezTo>
                  <a:cubicBezTo>
                    <a:pt x="50875" y="187618"/>
                    <a:pt x="50606" y="187171"/>
                    <a:pt x="12964" y="161957"/>
                  </a:cubicBezTo>
                  <a:cubicBezTo>
                    <a:pt x="7331" y="158202"/>
                    <a:pt x="4292" y="150602"/>
                    <a:pt x="0" y="144701"/>
                  </a:cubicBezTo>
                  <a:cubicBezTo>
                    <a:pt x="894" y="136206"/>
                    <a:pt x="1788" y="127623"/>
                    <a:pt x="2682" y="119129"/>
                  </a:cubicBezTo>
                  <a:cubicBezTo>
                    <a:pt x="16630" y="101336"/>
                    <a:pt x="30578" y="83632"/>
                    <a:pt x="44527" y="65840"/>
                  </a:cubicBezTo>
                  <a:cubicBezTo>
                    <a:pt x="41844" y="53948"/>
                    <a:pt x="43454" y="41877"/>
                    <a:pt x="43900" y="29896"/>
                  </a:cubicBezTo>
                  <a:cubicBezTo>
                    <a:pt x="47208" y="22475"/>
                    <a:pt x="47208" y="11745"/>
                    <a:pt x="59995" y="13802"/>
                  </a:cubicBezTo>
                  <a:cubicBezTo>
                    <a:pt x="64734" y="13355"/>
                    <a:pt x="66880" y="22296"/>
                    <a:pt x="72065" y="17826"/>
                  </a:cubicBezTo>
                  <a:cubicBezTo>
                    <a:pt x="75910" y="14517"/>
                    <a:pt x="76446" y="9331"/>
                    <a:pt x="73586" y="4503"/>
                  </a:cubicBezTo>
                  <a:cubicBezTo>
                    <a:pt x="90841" y="-7835"/>
                    <a:pt x="88696" y="8169"/>
                    <a:pt x="91557" y="16842"/>
                  </a:cubicBezTo>
                  <a:cubicBezTo>
                    <a:pt x="94418" y="65750"/>
                    <a:pt x="94418" y="65482"/>
                    <a:pt x="141449" y="54216"/>
                  </a:cubicBezTo>
                  <a:cubicBezTo>
                    <a:pt x="149138" y="52338"/>
                    <a:pt x="158795" y="50908"/>
                    <a:pt x="164964" y="59670"/>
                  </a:cubicBezTo>
                  <a:cubicBezTo>
                    <a:pt x="170597" y="70578"/>
                    <a:pt x="168362" y="79251"/>
                    <a:pt x="157811" y="856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8" name="Freeform: Shape 17">
              <a:extLst>
                <a:ext uri="{FF2B5EF4-FFF2-40B4-BE49-F238E27FC236}">
                  <a16:creationId xmlns:a16="http://schemas.microsoft.com/office/drawing/2014/main" id="{C6FDBEA4-B130-A476-6FFA-71F2F2DB260D}"/>
                </a:ext>
              </a:extLst>
            </p:cNvPr>
            <p:cNvSpPr/>
            <p:nvPr/>
          </p:nvSpPr>
          <p:spPr>
            <a:xfrm>
              <a:off x="9053556" y="2339298"/>
              <a:ext cx="310944" cy="252318"/>
            </a:xfrm>
            <a:custGeom>
              <a:avLst/>
              <a:gdLst>
                <a:gd name="connsiteX0" fmla="*/ 105016 w 213293"/>
                <a:gd name="connsiteY0" fmla="*/ 171380 h 173078"/>
                <a:gd name="connsiteX1" fmla="*/ 97148 w 213293"/>
                <a:gd name="connsiteY1" fmla="*/ 155554 h 173078"/>
                <a:gd name="connsiteX2" fmla="*/ 96969 w 213293"/>
                <a:gd name="connsiteY2" fmla="*/ 128373 h 173078"/>
                <a:gd name="connsiteX3" fmla="*/ 89727 w 213293"/>
                <a:gd name="connsiteY3" fmla="*/ 121220 h 173078"/>
                <a:gd name="connsiteX4" fmla="*/ 78908 w 213293"/>
                <a:gd name="connsiteY4" fmla="*/ 116660 h 173078"/>
                <a:gd name="connsiteX5" fmla="*/ 112973 w 213293"/>
                <a:gd name="connsiteY5" fmla="*/ 77140 h 173078"/>
                <a:gd name="connsiteX6" fmla="*/ 125402 w 213293"/>
                <a:gd name="connsiteY6" fmla="*/ 65159 h 173078"/>
                <a:gd name="connsiteX7" fmla="*/ 104837 w 213293"/>
                <a:gd name="connsiteY7" fmla="*/ 54251 h 173078"/>
                <a:gd name="connsiteX8" fmla="*/ 67195 w 213293"/>
                <a:gd name="connsiteY8" fmla="*/ 97258 h 173078"/>
                <a:gd name="connsiteX9" fmla="*/ 12207 w 213293"/>
                <a:gd name="connsiteY9" fmla="*/ 74190 h 173078"/>
                <a:gd name="connsiteX10" fmla="*/ 6038 w 213293"/>
                <a:gd name="connsiteY10" fmla="*/ 27338 h 173078"/>
                <a:gd name="connsiteX11" fmla="*/ 31252 w 213293"/>
                <a:gd name="connsiteY11" fmla="*/ 13568 h 173078"/>
                <a:gd name="connsiteX12" fmla="*/ 94018 w 213293"/>
                <a:gd name="connsiteY12" fmla="*/ 22688 h 173078"/>
                <a:gd name="connsiteX13" fmla="*/ 104390 w 213293"/>
                <a:gd name="connsiteY13" fmla="*/ 6952 h 173078"/>
                <a:gd name="connsiteX14" fmla="*/ 155891 w 213293"/>
                <a:gd name="connsiteY14" fmla="*/ 4896 h 173078"/>
                <a:gd name="connsiteX15" fmla="*/ 155623 w 213293"/>
                <a:gd name="connsiteY15" fmla="*/ 4627 h 173078"/>
                <a:gd name="connsiteX16" fmla="*/ 156964 w 213293"/>
                <a:gd name="connsiteY16" fmla="*/ 17413 h 173078"/>
                <a:gd name="connsiteX17" fmla="*/ 213293 w 213293"/>
                <a:gd name="connsiteY17" fmla="*/ 39140 h 173078"/>
                <a:gd name="connsiteX18" fmla="*/ 165190 w 213293"/>
                <a:gd name="connsiteY18" fmla="*/ 61314 h 173078"/>
                <a:gd name="connsiteX19" fmla="*/ 152851 w 213293"/>
                <a:gd name="connsiteY19" fmla="*/ 120415 h 173078"/>
                <a:gd name="connsiteX20" fmla="*/ 107519 w 213293"/>
                <a:gd name="connsiteY20" fmla="*/ 173079 h 173078"/>
                <a:gd name="connsiteX21" fmla="*/ 106804 w 213293"/>
                <a:gd name="connsiteY21" fmla="*/ 171559 h 173078"/>
                <a:gd name="connsiteX22" fmla="*/ 105106 w 213293"/>
                <a:gd name="connsiteY22" fmla="*/ 171559 h 17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3293" h="173078">
                  <a:moveTo>
                    <a:pt x="105016" y="171380"/>
                  </a:moveTo>
                  <a:cubicBezTo>
                    <a:pt x="103317" y="165568"/>
                    <a:pt x="104211" y="157968"/>
                    <a:pt x="97148" y="155554"/>
                  </a:cubicBezTo>
                  <a:cubicBezTo>
                    <a:pt x="70861" y="146434"/>
                    <a:pt x="88833" y="137404"/>
                    <a:pt x="96969" y="128373"/>
                  </a:cubicBezTo>
                  <a:cubicBezTo>
                    <a:pt x="102244" y="118180"/>
                    <a:pt x="97237" y="118359"/>
                    <a:pt x="89727" y="121220"/>
                  </a:cubicBezTo>
                  <a:cubicBezTo>
                    <a:pt x="85346" y="121041"/>
                    <a:pt x="75957" y="125601"/>
                    <a:pt x="78908" y="116660"/>
                  </a:cubicBezTo>
                  <a:cubicBezTo>
                    <a:pt x="84630" y="99493"/>
                    <a:pt x="91246" y="81700"/>
                    <a:pt x="112973" y="77140"/>
                  </a:cubicBezTo>
                  <a:cubicBezTo>
                    <a:pt x="118785" y="75978"/>
                    <a:pt x="131571" y="77945"/>
                    <a:pt x="125402" y="65159"/>
                  </a:cubicBezTo>
                  <a:cubicBezTo>
                    <a:pt x="121915" y="57827"/>
                    <a:pt x="115924" y="51926"/>
                    <a:pt x="104837" y="54251"/>
                  </a:cubicBezTo>
                  <a:cubicBezTo>
                    <a:pt x="79444" y="59705"/>
                    <a:pt x="73364" y="65695"/>
                    <a:pt x="67195" y="97258"/>
                  </a:cubicBezTo>
                  <a:cubicBezTo>
                    <a:pt x="46451" y="95470"/>
                    <a:pt x="29731" y="83131"/>
                    <a:pt x="12207" y="74190"/>
                  </a:cubicBezTo>
                  <a:cubicBezTo>
                    <a:pt x="-9610" y="63102"/>
                    <a:pt x="4070" y="43611"/>
                    <a:pt x="6038" y="27338"/>
                  </a:cubicBezTo>
                  <a:cubicBezTo>
                    <a:pt x="8094" y="10350"/>
                    <a:pt x="18376" y="14641"/>
                    <a:pt x="31252" y="13568"/>
                  </a:cubicBezTo>
                  <a:cubicBezTo>
                    <a:pt x="53694" y="11601"/>
                    <a:pt x="73543" y="13390"/>
                    <a:pt x="94018" y="22688"/>
                  </a:cubicBezTo>
                  <a:cubicBezTo>
                    <a:pt x="99115" y="25013"/>
                    <a:pt x="107788" y="16966"/>
                    <a:pt x="104390" y="6952"/>
                  </a:cubicBezTo>
                  <a:cubicBezTo>
                    <a:pt x="121110" y="-3956"/>
                    <a:pt x="138546" y="67"/>
                    <a:pt x="155891" y="4896"/>
                  </a:cubicBezTo>
                  <a:lnTo>
                    <a:pt x="155623" y="4627"/>
                  </a:lnTo>
                  <a:cubicBezTo>
                    <a:pt x="160093" y="8472"/>
                    <a:pt x="159914" y="12764"/>
                    <a:pt x="156964" y="17413"/>
                  </a:cubicBezTo>
                  <a:cubicBezTo>
                    <a:pt x="171538" y="36011"/>
                    <a:pt x="197199" y="24298"/>
                    <a:pt x="213293" y="39140"/>
                  </a:cubicBezTo>
                  <a:cubicBezTo>
                    <a:pt x="206409" y="58721"/>
                    <a:pt x="192639" y="68378"/>
                    <a:pt x="165190" y="61314"/>
                  </a:cubicBezTo>
                  <a:cubicBezTo>
                    <a:pt x="196395" y="92340"/>
                    <a:pt x="164117" y="110938"/>
                    <a:pt x="152851" y="120415"/>
                  </a:cubicBezTo>
                  <a:cubicBezTo>
                    <a:pt x="134164" y="136062"/>
                    <a:pt x="122630" y="155643"/>
                    <a:pt x="107519" y="173079"/>
                  </a:cubicBezTo>
                  <a:lnTo>
                    <a:pt x="106804" y="171559"/>
                  </a:lnTo>
                  <a:lnTo>
                    <a:pt x="105106" y="171559"/>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 name="Freeform: Shape 18">
              <a:extLst>
                <a:ext uri="{FF2B5EF4-FFF2-40B4-BE49-F238E27FC236}">
                  <a16:creationId xmlns:a16="http://schemas.microsoft.com/office/drawing/2014/main" id="{CC5C7674-58F2-DA4B-5327-37BBC5AB4965}"/>
                </a:ext>
              </a:extLst>
            </p:cNvPr>
            <p:cNvSpPr/>
            <p:nvPr/>
          </p:nvSpPr>
          <p:spPr>
            <a:xfrm>
              <a:off x="9273903" y="2244682"/>
              <a:ext cx="303833" cy="137145"/>
            </a:xfrm>
            <a:custGeom>
              <a:avLst/>
              <a:gdLst>
                <a:gd name="connsiteX0" fmla="*/ 11449 w 208415"/>
                <a:gd name="connsiteY0" fmla="*/ 57192 h 94075"/>
                <a:gd name="connsiteX1" fmla="*/ 183 w 208415"/>
                <a:gd name="connsiteY1" fmla="*/ 43780 h 94075"/>
                <a:gd name="connsiteX2" fmla="*/ 13953 w 208415"/>
                <a:gd name="connsiteY2" fmla="*/ 39757 h 94075"/>
                <a:gd name="connsiteX3" fmla="*/ 30673 w 208415"/>
                <a:gd name="connsiteY3" fmla="*/ 23305 h 94075"/>
                <a:gd name="connsiteX4" fmla="*/ 40150 w 208415"/>
                <a:gd name="connsiteY4" fmla="*/ 11502 h 94075"/>
                <a:gd name="connsiteX5" fmla="*/ 53025 w 208415"/>
                <a:gd name="connsiteY5" fmla="*/ 58 h 94075"/>
                <a:gd name="connsiteX6" fmla="*/ 67958 w 208415"/>
                <a:gd name="connsiteY6" fmla="*/ 12754 h 94075"/>
                <a:gd name="connsiteX7" fmla="*/ 88790 w 208415"/>
                <a:gd name="connsiteY7" fmla="*/ 31620 h 94075"/>
                <a:gd name="connsiteX8" fmla="*/ 95764 w 208415"/>
                <a:gd name="connsiteY8" fmla="*/ 24825 h 94075"/>
                <a:gd name="connsiteX9" fmla="*/ 103543 w 208415"/>
                <a:gd name="connsiteY9" fmla="*/ 12844 h 94075"/>
                <a:gd name="connsiteX10" fmla="*/ 194564 w 208415"/>
                <a:gd name="connsiteY10" fmla="*/ 35822 h 94075"/>
                <a:gd name="connsiteX11" fmla="*/ 206992 w 208415"/>
                <a:gd name="connsiteY11" fmla="*/ 36627 h 94075"/>
                <a:gd name="connsiteX12" fmla="*/ 168634 w 208415"/>
                <a:gd name="connsiteY12" fmla="*/ 86787 h 94075"/>
                <a:gd name="connsiteX13" fmla="*/ 59821 w 208415"/>
                <a:gd name="connsiteY13" fmla="*/ 83747 h 94075"/>
                <a:gd name="connsiteX14" fmla="*/ 55976 w 208415"/>
                <a:gd name="connsiteY14" fmla="*/ 78829 h 94075"/>
                <a:gd name="connsiteX15" fmla="*/ 96032 w 208415"/>
                <a:gd name="connsiteY15" fmla="*/ 64971 h 94075"/>
                <a:gd name="connsiteX16" fmla="*/ 24235 w 208415"/>
                <a:gd name="connsiteY16" fmla="*/ 77131 h 94075"/>
                <a:gd name="connsiteX17" fmla="*/ 11360 w 208415"/>
                <a:gd name="connsiteY17" fmla="*/ 57192 h 9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8415" h="94075">
                  <a:moveTo>
                    <a:pt x="11449" y="57192"/>
                  </a:moveTo>
                  <a:cubicBezTo>
                    <a:pt x="5995" y="54062"/>
                    <a:pt x="-1247" y="50844"/>
                    <a:pt x="183" y="43780"/>
                  </a:cubicBezTo>
                  <a:cubicBezTo>
                    <a:pt x="1524" y="37074"/>
                    <a:pt x="10018" y="38058"/>
                    <a:pt x="13953" y="39757"/>
                  </a:cubicBezTo>
                  <a:cubicBezTo>
                    <a:pt x="34786" y="49055"/>
                    <a:pt x="32908" y="36627"/>
                    <a:pt x="30673" y="23305"/>
                  </a:cubicBezTo>
                  <a:cubicBezTo>
                    <a:pt x="33802" y="19371"/>
                    <a:pt x="37021" y="15437"/>
                    <a:pt x="40150" y="11502"/>
                  </a:cubicBezTo>
                  <a:cubicBezTo>
                    <a:pt x="42028" y="4975"/>
                    <a:pt x="46856" y="1757"/>
                    <a:pt x="53025" y="58"/>
                  </a:cubicBezTo>
                  <a:cubicBezTo>
                    <a:pt x="62146" y="-568"/>
                    <a:pt x="66884" y="3903"/>
                    <a:pt x="67958" y="12754"/>
                  </a:cubicBezTo>
                  <a:cubicBezTo>
                    <a:pt x="68851" y="25808"/>
                    <a:pt x="80296" y="27150"/>
                    <a:pt x="88790" y="31620"/>
                  </a:cubicBezTo>
                  <a:cubicBezTo>
                    <a:pt x="97553" y="36448"/>
                    <a:pt x="97910" y="31978"/>
                    <a:pt x="95764" y="24825"/>
                  </a:cubicBezTo>
                  <a:cubicBezTo>
                    <a:pt x="94959" y="18387"/>
                    <a:pt x="98536" y="11502"/>
                    <a:pt x="103543" y="12844"/>
                  </a:cubicBezTo>
                  <a:cubicBezTo>
                    <a:pt x="133854" y="20712"/>
                    <a:pt x="168813" y="10430"/>
                    <a:pt x="194564" y="35822"/>
                  </a:cubicBezTo>
                  <a:cubicBezTo>
                    <a:pt x="198677" y="36091"/>
                    <a:pt x="202879" y="36359"/>
                    <a:pt x="206992" y="36627"/>
                  </a:cubicBezTo>
                  <a:cubicBezTo>
                    <a:pt x="213877" y="55314"/>
                    <a:pt x="194922" y="84999"/>
                    <a:pt x="168634" y="86787"/>
                  </a:cubicBezTo>
                  <a:cubicBezTo>
                    <a:pt x="132602" y="89291"/>
                    <a:pt x="95406" y="103507"/>
                    <a:pt x="59821" y="83747"/>
                  </a:cubicBezTo>
                  <a:cubicBezTo>
                    <a:pt x="58122" y="82853"/>
                    <a:pt x="57228" y="80528"/>
                    <a:pt x="55976" y="78829"/>
                  </a:cubicBezTo>
                  <a:cubicBezTo>
                    <a:pt x="62503" y="65149"/>
                    <a:pt x="77077" y="72034"/>
                    <a:pt x="96032" y="64971"/>
                  </a:cubicBezTo>
                  <a:cubicBezTo>
                    <a:pt x="63665" y="56387"/>
                    <a:pt x="43995" y="66759"/>
                    <a:pt x="24235" y="77131"/>
                  </a:cubicBezTo>
                  <a:cubicBezTo>
                    <a:pt x="8409" y="77935"/>
                    <a:pt x="18870" y="61752"/>
                    <a:pt x="11360" y="571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 name="Freeform: Shape 19">
              <a:extLst>
                <a:ext uri="{FF2B5EF4-FFF2-40B4-BE49-F238E27FC236}">
                  <a16:creationId xmlns:a16="http://schemas.microsoft.com/office/drawing/2014/main" id="{BAA9A35F-68A1-0A78-CC87-C15C16D81EEF}"/>
                </a:ext>
              </a:extLst>
            </p:cNvPr>
            <p:cNvSpPr/>
            <p:nvPr/>
          </p:nvSpPr>
          <p:spPr>
            <a:xfrm>
              <a:off x="14205044" y="4670747"/>
              <a:ext cx="253914" cy="199976"/>
            </a:xfrm>
            <a:custGeom>
              <a:avLst/>
              <a:gdLst>
                <a:gd name="connsiteX0" fmla="*/ 165054 w 174173"/>
                <a:gd name="connsiteY0" fmla="*/ 67435 h 137175"/>
                <a:gd name="connsiteX1" fmla="*/ 174174 w 174173"/>
                <a:gd name="connsiteY1" fmla="*/ 85496 h 137175"/>
                <a:gd name="connsiteX2" fmla="*/ 140644 w 174173"/>
                <a:gd name="connsiteY2" fmla="*/ 96046 h 137175"/>
                <a:gd name="connsiteX3" fmla="*/ 117487 w 174173"/>
                <a:gd name="connsiteY3" fmla="*/ 137176 h 137175"/>
                <a:gd name="connsiteX4" fmla="*/ 81901 w 174173"/>
                <a:gd name="connsiteY4" fmla="*/ 112319 h 137175"/>
                <a:gd name="connsiteX5" fmla="*/ 48372 w 174173"/>
                <a:gd name="connsiteY5" fmla="*/ 118131 h 137175"/>
                <a:gd name="connsiteX6" fmla="*/ 37196 w 174173"/>
                <a:gd name="connsiteY6" fmla="*/ 125373 h 137175"/>
                <a:gd name="connsiteX7" fmla="*/ 25393 w 174173"/>
                <a:gd name="connsiteY7" fmla="*/ 131453 h 137175"/>
                <a:gd name="connsiteX8" fmla="*/ 20476 w 174173"/>
                <a:gd name="connsiteY8" fmla="*/ 127072 h 137175"/>
                <a:gd name="connsiteX9" fmla="*/ 0 w 174173"/>
                <a:gd name="connsiteY9" fmla="*/ 107491 h 137175"/>
                <a:gd name="connsiteX10" fmla="*/ 25840 w 174173"/>
                <a:gd name="connsiteY10" fmla="*/ 80578 h 137175"/>
                <a:gd name="connsiteX11" fmla="*/ 44169 w 174173"/>
                <a:gd name="connsiteY11" fmla="*/ 71011 h 137175"/>
                <a:gd name="connsiteX12" fmla="*/ 45600 w 174173"/>
                <a:gd name="connsiteY12" fmla="*/ 21388 h 137175"/>
                <a:gd name="connsiteX13" fmla="*/ 41577 w 174173"/>
                <a:gd name="connsiteY13" fmla="*/ 3058 h 137175"/>
                <a:gd name="connsiteX14" fmla="*/ 59995 w 174173"/>
                <a:gd name="connsiteY14" fmla="*/ 9407 h 137175"/>
                <a:gd name="connsiteX15" fmla="*/ 120616 w 174173"/>
                <a:gd name="connsiteY15" fmla="*/ 50894 h 137175"/>
                <a:gd name="connsiteX16" fmla="*/ 154950 w 174173"/>
                <a:gd name="connsiteY16" fmla="*/ 47228 h 137175"/>
                <a:gd name="connsiteX17" fmla="*/ 165054 w 174173"/>
                <a:gd name="connsiteY17" fmla="*/ 67345 h 13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4173" h="137175">
                  <a:moveTo>
                    <a:pt x="165054" y="67435"/>
                  </a:moveTo>
                  <a:lnTo>
                    <a:pt x="174174" y="85496"/>
                  </a:lnTo>
                  <a:cubicBezTo>
                    <a:pt x="162997" y="89251"/>
                    <a:pt x="151553" y="96672"/>
                    <a:pt x="140644" y="96046"/>
                  </a:cubicBezTo>
                  <a:cubicBezTo>
                    <a:pt x="106668" y="94079"/>
                    <a:pt x="99336" y="106865"/>
                    <a:pt x="117487" y="137176"/>
                  </a:cubicBezTo>
                  <a:cubicBezTo>
                    <a:pt x="101214" y="131006"/>
                    <a:pt x="89233" y="124837"/>
                    <a:pt x="81901" y="112319"/>
                  </a:cubicBezTo>
                  <a:cubicBezTo>
                    <a:pt x="68668" y="102395"/>
                    <a:pt x="59280" y="114912"/>
                    <a:pt x="48372" y="118131"/>
                  </a:cubicBezTo>
                  <a:cubicBezTo>
                    <a:pt x="44616" y="120545"/>
                    <a:pt x="40951" y="122959"/>
                    <a:pt x="37196" y="125373"/>
                  </a:cubicBezTo>
                  <a:cubicBezTo>
                    <a:pt x="34424" y="129665"/>
                    <a:pt x="31830" y="134314"/>
                    <a:pt x="25393" y="131453"/>
                  </a:cubicBezTo>
                  <a:cubicBezTo>
                    <a:pt x="23784" y="130023"/>
                    <a:pt x="22085" y="128592"/>
                    <a:pt x="20476" y="127072"/>
                  </a:cubicBezTo>
                  <a:cubicBezTo>
                    <a:pt x="13680" y="120545"/>
                    <a:pt x="6795" y="114018"/>
                    <a:pt x="0" y="107491"/>
                  </a:cubicBezTo>
                  <a:cubicBezTo>
                    <a:pt x="20386" y="109726"/>
                    <a:pt x="13770" y="86122"/>
                    <a:pt x="25840" y="80578"/>
                  </a:cubicBezTo>
                  <a:cubicBezTo>
                    <a:pt x="32367" y="77627"/>
                    <a:pt x="48193" y="85317"/>
                    <a:pt x="44169" y="71011"/>
                  </a:cubicBezTo>
                  <a:cubicBezTo>
                    <a:pt x="39252" y="53486"/>
                    <a:pt x="66880" y="38376"/>
                    <a:pt x="45600" y="21388"/>
                  </a:cubicBezTo>
                  <a:cubicBezTo>
                    <a:pt x="40146" y="17006"/>
                    <a:pt x="32188" y="11016"/>
                    <a:pt x="41577" y="3058"/>
                  </a:cubicBezTo>
                  <a:cubicBezTo>
                    <a:pt x="50607" y="-4631"/>
                    <a:pt x="56151" y="3952"/>
                    <a:pt x="59995" y="9407"/>
                  </a:cubicBezTo>
                  <a:cubicBezTo>
                    <a:pt x="75284" y="30955"/>
                    <a:pt x="97995" y="39717"/>
                    <a:pt x="120616" y="50894"/>
                  </a:cubicBezTo>
                  <a:cubicBezTo>
                    <a:pt x="135727" y="58404"/>
                    <a:pt x="144221" y="55006"/>
                    <a:pt x="154950" y="47228"/>
                  </a:cubicBezTo>
                  <a:cubicBezTo>
                    <a:pt x="171670" y="47228"/>
                    <a:pt x="166306" y="58315"/>
                    <a:pt x="165054" y="673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 name="Freeform: Shape 20">
              <a:extLst>
                <a:ext uri="{FF2B5EF4-FFF2-40B4-BE49-F238E27FC236}">
                  <a16:creationId xmlns:a16="http://schemas.microsoft.com/office/drawing/2014/main" id="{950BF8BC-BFB3-8D3E-49C2-044695F0B742}"/>
                </a:ext>
              </a:extLst>
            </p:cNvPr>
            <p:cNvSpPr/>
            <p:nvPr/>
          </p:nvSpPr>
          <p:spPr>
            <a:xfrm>
              <a:off x="5295007" y="6044202"/>
              <a:ext cx="368958" cy="151104"/>
            </a:xfrm>
            <a:custGeom>
              <a:avLst/>
              <a:gdLst>
                <a:gd name="connsiteX0" fmla="*/ 143 w 253088"/>
                <a:gd name="connsiteY0" fmla="*/ 21391 h 103650"/>
                <a:gd name="connsiteX1" fmla="*/ 117630 w 253088"/>
                <a:gd name="connsiteY1" fmla="*/ 16653 h 103650"/>
                <a:gd name="connsiteX2" fmla="*/ 253089 w 253088"/>
                <a:gd name="connsiteY2" fmla="*/ 87824 h 103650"/>
                <a:gd name="connsiteX3" fmla="*/ 216519 w 253088"/>
                <a:gd name="connsiteY3" fmla="*/ 100342 h 103650"/>
                <a:gd name="connsiteX4" fmla="*/ 164124 w 253088"/>
                <a:gd name="connsiteY4" fmla="*/ 93278 h 103650"/>
                <a:gd name="connsiteX5" fmla="*/ 160369 w 253088"/>
                <a:gd name="connsiteY5" fmla="*/ 77542 h 103650"/>
                <a:gd name="connsiteX6" fmla="*/ 63178 w 253088"/>
                <a:gd name="connsiteY6" fmla="*/ 41867 h 103650"/>
                <a:gd name="connsiteX7" fmla="*/ 54237 w 253088"/>
                <a:gd name="connsiteY7" fmla="*/ 39005 h 103650"/>
                <a:gd name="connsiteX8" fmla="*/ 7386 w 253088"/>
                <a:gd name="connsiteY8" fmla="*/ 27829 h 103650"/>
                <a:gd name="connsiteX9" fmla="*/ 143 w 253088"/>
                <a:gd name="connsiteY9" fmla="*/ 21391 h 10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088" h="103650">
                  <a:moveTo>
                    <a:pt x="143" y="21391"/>
                  </a:moveTo>
                  <a:cubicBezTo>
                    <a:pt x="38322" y="-7489"/>
                    <a:pt x="73640" y="-5164"/>
                    <a:pt x="117630" y="16653"/>
                  </a:cubicBezTo>
                  <a:cubicBezTo>
                    <a:pt x="163230" y="39274"/>
                    <a:pt x="207667" y="63415"/>
                    <a:pt x="253089" y="87824"/>
                  </a:cubicBezTo>
                  <a:cubicBezTo>
                    <a:pt x="242270" y="100073"/>
                    <a:pt x="229037" y="99001"/>
                    <a:pt x="216519" y="100342"/>
                  </a:cubicBezTo>
                  <a:cubicBezTo>
                    <a:pt x="198905" y="99180"/>
                    <a:pt x="179324" y="112234"/>
                    <a:pt x="164124" y="93278"/>
                  </a:cubicBezTo>
                  <a:cubicBezTo>
                    <a:pt x="174317" y="85231"/>
                    <a:pt x="167522" y="82459"/>
                    <a:pt x="160369" y="77542"/>
                  </a:cubicBezTo>
                  <a:cubicBezTo>
                    <a:pt x="130952" y="57156"/>
                    <a:pt x="99748" y="42403"/>
                    <a:pt x="63178" y="41867"/>
                  </a:cubicBezTo>
                  <a:cubicBezTo>
                    <a:pt x="60049" y="41867"/>
                    <a:pt x="54774" y="40794"/>
                    <a:pt x="54237" y="39005"/>
                  </a:cubicBezTo>
                  <a:cubicBezTo>
                    <a:pt x="44670" y="9053"/>
                    <a:pt x="24016" y="26756"/>
                    <a:pt x="7386" y="27829"/>
                  </a:cubicBezTo>
                  <a:cubicBezTo>
                    <a:pt x="769" y="30333"/>
                    <a:pt x="-483" y="26935"/>
                    <a:pt x="143" y="213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 name="Freeform: Shape 21">
              <a:extLst>
                <a:ext uri="{FF2B5EF4-FFF2-40B4-BE49-F238E27FC236}">
                  <a16:creationId xmlns:a16="http://schemas.microsoft.com/office/drawing/2014/main" id="{A1EF4DB3-C79E-F831-CD35-02DB7ED6FA33}"/>
                </a:ext>
              </a:extLst>
            </p:cNvPr>
            <p:cNvSpPr/>
            <p:nvPr/>
          </p:nvSpPr>
          <p:spPr>
            <a:xfrm>
              <a:off x="5666181" y="6173306"/>
              <a:ext cx="229279" cy="110020"/>
            </a:xfrm>
            <a:custGeom>
              <a:avLst/>
              <a:gdLst>
                <a:gd name="connsiteX0" fmla="*/ 97995 w 157274"/>
                <a:gd name="connsiteY0" fmla="*/ 1768 h 75469"/>
                <a:gd name="connsiteX1" fmla="*/ 157275 w 157274"/>
                <a:gd name="connsiteY1" fmla="*/ 48799 h 75469"/>
                <a:gd name="connsiteX2" fmla="*/ 51054 w 157274"/>
                <a:gd name="connsiteY2" fmla="*/ 67218 h 75469"/>
                <a:gd name="connsiteX3" fmla="*/ 17256 w 157274"/>
                <a:gd name="connsiteY3" fmla="*/ 72761 h 75469"/>
                <a:gd name="connsiteX4" fmla="*/ 358 w 157274"/>
                <a:gd name="connsiteY4" fmla="*/ 64804 h 75469"/>
                <a:gd name="connsiteX5" fmla="*/ 12875 w 157274"/>
                <a:gd name="connsiteY5" fmla="*/ 55415 h 75469"/>
                <a:gd name="connsiteX6" fmla="*/ 38447 w 157274"/>
                <a:gd name="connsiteY6" fmla="*/ 43971 h 75469"/>
                <a:gd name="connsiteX7" fmla="*/ 32278 w 157274"/>
                <a:gd name="connsiteY7" fmla="*/ 15538 h 75469"/>
                <a:gd name="connsiteX8" fmla="*/ 44527 w 157274"/>
                <a:gd name="connsiteY8" fmla="*/ 4630 h 75469"/>
                <a:gd name="connsiteX9" fmla="*/ 97995 w 157274"/>
                <a:gd name="connsiteY9" fmla="*/ 1858 h 75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274" h="75469">
                  <a:moveTo>
                    <a:pt x="97995" y="1768"/>
                  </a:moveTo>
                  <a:cubicBezTo>
                    <a:pt x="117755" y="17415"/>
                    <a:pt x="137515" y="33152"/>
                    <a:pt x="157275" y="48799"/>
                  </a:cubicBezTo>
                  <a:cubicBezTo>
                    <a:pt x="119633" y="46742"/>
                    <a:pt x="88696" y="75533"/>
                    <a:pt x="51054" y="67218"/>
                  </a:cubicBezTo>
                  <a:cubicBezTo>
                    <a:pt x="40772" y="64893"/>
                    <a:pt x="28075" y="62747"/>
                    <a:pt x="17256" y="72761"/>
                  </a:cubicBezTo>
                  <a:cubicBezTo>
                    <a:pt x="10104" y="79378"/>
                    <a:pt x="2235" y="72761"/>
                    <a:pt x="358" y="64804"/>
                  </a:cubicBezTo>
                  <a:cubicBezTo>
                    <a:pt x="-1967" y="54790"/>
                    <a:pt x="7600" y="57561"/>
                    <a:pt x="12875" y="55415"/>
                  </a:cubicBezTo>
                  <a:cubicBezTo>
                    <a:pt x="21816" y="51749"/>
                    <a:pt x="40682" y="65698"/>
                    <a:pt x="38447" y="43971"/>
                  </a:cubicBezTo>
                  <a:cubicBezTo>
                    <a:pt x="37553" y="35655"/>
                    <a:pt x="43365" y="26267"/>
                    <a:pt x="32278" y="15538"/>
                  </a:cubicBezTo>
                  <a:cubicBezTo>
                    <a:pt x="18508" y="2216"/>
                    <a:pt x="39788" y="8385"/>
                    <a:pt x="44527" y="4630"/>
                  </a:cubicBezTo>
                  <a:cubicBezTo>
                    <a:pt x="62678" y="9458"/>
                    <a:pt x="79755" y="-4937"/>
                    <a:pt x="97995" y="185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 name="Freeform: Shape 22">
              <a:extLst>
                <a:ext uri="{FF2B5EF4-FFF2-40B4-BE49-F238E27FC236}">
                  <a16:creationId xmlns:a16="http://schemas.microsoft.com/office/drawing/2014/main" id="{C31A2A5C-C01D-0495-DB29-357C39251936}"/>
                </a:ext>
              </a:extLst>
            </p:cNvPr>
            <p:cNvSpPr/>
            <p:nvPr/>
          </p:nvSpPr>
          <p:spPr>
            <a:xfrm>
              <a:off x="12086095" y="6419977"/>
              <a:ext cx="105227" cy="157601"/>
            </a:xfrm>
            <a:custGeom>
              <a:avLst/>
              <a:gdLst>
                <a:gd name="connsiteX0" fmla="*/ 72181 w 72180"/>
                <a:gd name="connsiteY0" fmla="*/ 83362 h 108107"/>
                <a:gd name="connsiteX1" fmla="*/ 5301 w 72180"/>
                <a:gd name="connsiteY1" fmla="*/ 76746 h 108107"/>
                <a:gd name="connsiteX2" fmla="*/ 4943 w 72180"/>
                <a:gd name="connsiteY2" fmla="*/ 44200 h 108107"/>
                <a:gd name="connsiteX3" fmla="*/ 6731 w 72180"/>
                <a:gd name="connsiteY3" fmla="*/ 38120 h 108107"/>
                <a:gd name="connsiteX4" fmla="*/ 6195 w 72180"/>
                <a:gd name="connsiteY4" fmla="*/ 1729 h 108107"/>
                <a:gd name="connsiteX5" fmla="*/ 43569 w 72180"/>
                <a:gd name="connsiteY5" fmla="*/ 14157 h 108107"/>
                <a:gd name="connsiteX6" fmla="*/ 72091 w 72180"/>
                <a:gd name="connsiteY6" fmla="*/ 83362 h 10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180" h="108107">
                  <a:moveTo>
                    <a:pt x="72181" y="83362"/>
                  </a:moveTo>
                  <a:cubicBezTo>
                    <a:pt x="40797" y="117428"/>
                    <a:pt x="39545" y="117339"/>
                    <a:pt x="5301" y="76746"/>
                  </a:cubicBezTo>
                  <a:cubicBezTo>
                    <a:pt x="-421" y="65927"/>
                    <a:pt x="1635" y="55108"/>
                    <a:pt x="4943" y="44200"/>
                  </a:cubicBezTo>
                  <a:cubicBezTo>
                    <a:pt x="5569" y="42143"/>
                    <a:pt x="5837" y="39998"/>
                    <a:pt x="6731" y="38120"/>
                  </a:cubicBezTo>
                  <a:cubicBezTo>
                    <a:pt x="13258" y="25513"/>
                    <a:pt x="-10794" y="11028"/>
                    <a:pt x="6195" y="1729"/>
                  </a:cubicBezTo>
                  <a:cubicBezTo>
                    <a:pt x="18802" y="-5155"/>
                    <a:pt x="30694" y="10492"/>
                    <a:pt x="43569" y="14157"/>
                  </a:cubicBezTo>
                  <a:cubicBezTo>
                    <a:pt x="52063" y="37584"/>
                    <a:pt x="71197" y="56717"/>
                    <a:pt x="72091" y="8336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 name="Freeform: Shape 24">
              <a:extLst>
                <a:ext uri="{FF2B5EF4-FFF2-40B4-BE49-F238E27FC236}">
                  <a16:creationId xmlns:a16="http://schemas.microsoft.com/office/drawing/2014/main" id="{8DCA80DB-4395-D789-4CB6-D2D0DDA88090}"/>
                </a:ext>
              </a:extLst>
            </p:cNvPr>
            <p:cNvSpPr/>
            <p:nvPr/>
          </p:nvSpPr>
          <p:spPr>
            <a:xfrm>
              <a:off x="13908896" y="5276101"/>
              <a:ext cx="113380" cy="145465"/>
            </a:xfrm>
            <a:custGeom>
              <a:avLst/>
              <a:gdLst>
                <a:gd name="connsiteX0" fmla="*/ 28522 w 77774"/>
                <a:gd name="connsiteY0" fmla="*/ 894 h 99783"/>
                <a:gd name="connsiteX1" fmla="*/ 37284 w 77774"/>
                <a:gd name="connsiteY1" fmla="*/ 0 h 99783"/>
                <a:gd name="connsiteX2" fmla="*/ 77609 w 77774"/>
                <a:gd name="connsiteY2" fmla="*/ 29506 h 99783"/>
                <a:gd name="connsiteX3" fmla="*/ 76357 w 77774"/>
                <a:gd name="connsiteY3" fmla="*/ 82169 h 99783"/>
                <a:gd name="connsiteX4" fmla="*/ 59548 w 77774"/>
                <a:gd name="connsiteY4" fmla="*/ 99515 h 99783"/>
                <a:gd name="connsiteX5" fmla="*/ 46494 w 77774"/>
                <a:gd name="connsiteY5" fmla="*/ 99783 h 99783"/>
                <a:gd name="connsiteX6" fmla="*/ 34513 w 77774"/>
                <a:gd name="connsiteY6" fmla="*/ 61783 h 99783"/>
                <a:gd name="connsiteX7" fmla="*/ 31384 w 77774"/>
                <a:gd name="connsiteY7" fmla="*/ 48819 h 99783"/>
                <a:gd name="connsiteX8" fmla="*/ 0 w 77774"/>
                <a:gd name="connsiteY8" fmla="*/ 28075 h 99783"/>
                <a:gd name="connsiteX9" fmla="*/ 28701 w 77774"/>
                <a:gd name="connsiteY9" fmla="*/ 984 h 9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74" h="99783">
                  <a:moveTo>
                    <a:pt x="28522" y="894"/>
                  </a:moveTo>
                  <a:cubicBezTo>
                    <a:pt x="31384" y="626"/>
                    <a:pt x="34334" y="358"/>
                    <a:pt x="37284" y="0"/>
                  </a:cubicBezTo>
                  <a:cubicBezTo>
                    <a:pt x="50428" y="10193"/>
                    <a:pt x="71171" y="9925"/>
                    <a:pt x="77609" y="29506"/>
                  </a:cubicBezTo>
                  <a:cubicBezTo>
                    <a:pt x="78772" y="47120"/>
                    <a:pt x="73317" y="64555"/>
                    <a:pt x="76357" y="82169"/>
                  </a:cubicBezTo>
                  <a:cubicBezTo>
                    <a:pt x="74569" y="91647"/>
                    <a:pt x="71350" y="99783"/>
                    <a:pt x="59548" y="99515"/>
                  </a:cubicBezTo>
                  <a:cubicBezTo>
                    <a:pt x="55167" y="99515"/>
                    <a:pt x="50786" y="99694"/>
                    <a:pt x="46494" y="99783"/>
                  </a:cubicBezTo>
                  <a:cubicBezTo>
                    <a:pt x="26019" y="92541"/>
                    <a:pt x="35228" y="75106"/>
                    <a:pt x="34513" y="61783"/>
                  </a:cubicBezTo>
                  <a:cubicBezTo>
                    <a:pt x="34155" y="56508"/>
                    <a:pt x="39967" y="45153"/>
                    <a:pt x="31384" y="48819"/>
                  </a:cubicBezTo>
                  <a:cubicBezTo>
                    <a:pt x="7153" y="59369"/>
                    <a:pt x="13590" y="29595"/>
                    <a:pt x="0" y="28075"/>
                  </a:cubicBezTo>
                  <a:cubicBezTo>
                    <a:pt x="3845" y="13054"/>
                    <a:pt x="15200" y="5901"/>
                    <a:pt x="28701" y="98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 name="Freeform: Shape 25">
              <a:extLst>
                <a:ext uri="{FF2B5EF4-FFF2-40B4-BE49-F238E27FC236}">
                  <a16:creationId xmlns:a16="http://schemas.microsoft.com/office/drawing/2014/main" id="{3A581858-6BE0-E001-0D60-C09B782FFF8A}"/>
                </a:ext>
              </a:extLst>
            </p:cNvPr>
            <p:cNvSpPr/>
            <p:nvPr/>
          </p:nvSpPr>
          <p:spPr>
            <a:xfrm>
              <a:off x="14048923" y="5276285"/>
              <a:ext cx="97926" cy="94977"/>
            </a:xfrm>
            <a:custGeom>
              <a:avLst/>
              <a:gdLst>
                <a:gd name="connsiteX0" fmla="*/ 67124 w 67173"/>
                <a:gd name="connsiteY0" fmla="*/ 11230 h 65150"/>
                <a:gd name="connsiteX1" fmla="*/ 42983 w 67173"/>
                <a:gd name="connsiteY1" fmla="*/ 44133 h 65150"/>
                <a:gd name="connsiteX2" fmla="*/ 16964 w 67173"/>
                <a:gd name="connsiteY2" fmla="*/ 62552 h 65150"/>
                <a:gd name="connsiteX3" fmla="*/ 16964 w 67173"/>
                <a:gd name="connsiteY3" fmla="*/ 62552 h 65150"/>
                <a:gd name="connsiteX4" fmla="*/ 334 w 67173"/>
                <a:gd name="connsiteY4" fmla="*/ 40110 h 65150"/>
                <a:gd name="connsiteX5" fmla="*/ 28945 w 67173"/>
                <a:gd name="connsiteY5" fmla="*/ 7296 h 65150"/>
                <a:gd name="connsiteX6" fmla="*/ 67035 w 67173"/>
                <a:gd name="connsiteY6" fmla="*/ 11230 h 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73" h="65150">
                  <a:moveTo>
                    <a:pt x="67124" y="11230"/>
                  </a:moveTo>
                  <a:cubicBezTo>
                    <a:pt x="67482" y="28397"/>
                    <a:pt x="66498" y="44402"/>
                    <a:pt x="42983" y="44133"/>
                  </a:cubicBezTo>
                  <a:cubicBezTo>
                    <a:pt x="29124" y="42971"/>
                    <a:pt x="38244" y="74175"/>
                    <a:pt x="16964" y="62552"/>
                  </a:cubicBezTo>
                  <a:lnTo>
                    <a:pt x="16964" y="62552"/>
                  </a:lnTo>
                  <a:cubicBezTo>
                    <a:pt x="9901" y="56293"/>
                    <a:pt x="2927" y="49855"/>
                    <a:pt x="334" y="40110"/>
                  </a:cubicBezTo>
                  <a:cubicBezTo>
                    <a:pt x="-2438" y="18472"/>
                    <a:pt x="12494" y="12213"/>
                    <a:pt x="28945" y="7296"/>
                  </a:cubicBezTo>
                  <a:cubicBezTo>
                    <a:pt x="42357" y="1752"/>
                    <a:pt x="56216" y="-7636"/>
                    <a:pt x="67035" y="1123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 name="Freeform: Shape 27">
              <a:extLst>
                <a:ext uri="{FF2B5EF4-FFF2-40B4-BE49-F238E27FC236}">
                  <a16:creationId xmlns:a16="http://schemas.microsoft.com/office/drawing/2014/main" id="{9C8BC889-F936-25D0-9201-5710F5EB7153}"/>
                </a:ext>
              </a:extLst>
            </p:cNvPr>
            <p:cNvSpPr/>
            <p:nvPr/>
          </p:nvSpPr>
          <p:spPr>
            <a:xfrm>
              <a:off x="10249339" y="2192623"/>
              <a:ext cx="105013" cy="95204"/>
            </a:xfrm>
            <a:custGeom>
              <a:avLst/>
              <a:gdLst>
                <a:gd name="connsiteX0" fmla="*/ 43600 w 72033"/>
                <a:gd name="connsiteY0" fmla="*/ 7156 h 65305"/>
                <a:gd name="connsiteX1" fmla="*/ 68009 w 72033"/>
                <a:gd name="connsiteY1" fmla="*/ 3133 h 65305"/>
                <a:gd name="connsiteX2" fmla="*/ 68009 w 72033"/>
                <a:gd name="connsiteY2" fmla="*/ 18690 h 65305"/>
                <a:gd name="connsiteX3" fmla="*/ 56654 w 72033"/>
                <a:gd name="connsiteY3" fmla="*/ 52488 h 65305"/>
                <a:gd name="connsiteX4" fmla="*/ 10339 w 72033"/>
                <a:gd name="connsiteY4" fmla="*/ 65274 h 65305"/>
                <a:gd name="connsiteX5" fmla="*/ 4795 w 72033"/>
                <a:gd name="connsiteY5" fmla="*/ 58478 h 65305"/>
                <a:gd name="connsiteX6" fmla="*/ 414 w 72033"/>
                <a:gd name="connsiteY6" fmla="*/ 47212 h 65305"/>
                <a:gd name="connsiteX7" fmla="*/ 29652 w 72033"/>
                <a:gd name="connsiteY7" fmla="*/ 22356 h 65305"/>
                <a:gd name="connsiteX8" fmla="*/ 43600 w 72033"/>
                <a:gd name="connsiteY8" fmla="*/ 7245 h 65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33" h="65305">
                  <a:moveTo>
                    <a:pt x="43600" y="7156"/>
                  </a:moveTo>
                  <a:cubicBezTo>
                    <a:pt x="50932" y="1255"/>
                    <a:pt x="58442" y="-3305"/>
                    <a:pt x="68009" y="3133"/>
                  </a:cubicBezTo>
                  <a:cubicBezTo>
                    <a:pt x="75878" y="8408"/>
                    <a:pt x="70155" y="13504"/>
                    <a:pt x="68009" y="18690"/>
                  </a:cubicBezTo>
                  <a:cubicBezTo>
                    <a:pt x="59784" y="28436"/>
                    <a:pt x="62466" y="41937"/>
                    <a:pt x="56654" y="52488"/>
                  </a:cubicBezTo>
                  <a:cubicBezTo>
                    <a:pt x="42974" y="63128"/>
                    <a:pt x="27059" y="65631"/>
                    <a:pt x="10339" y="65274"/>
                  </a:cubicBezTo>
                  <a:cubicBezTo>
                    <a:pt x="8462" y="63038"/>
                    <a:pt x="6584" y="60714"/>
                    <a:pt x="4795" y="58478"/>
                  </a:cubicBezTo>
                  <a:cubicBezTo>
                    <a:pt x="-301" y="56154"/>
                    <a:pt x="-480" y="51862"/>
                    <a:pt x="414" y="47212"/>
                  </a:cubicBezTo>
                  <a:cubicBezTo>
                    <a:pt x="8372" y="36841"/>
                    <a:pt x="21784" y="32817"/>
                    <a:pt x="29652" y="22356"/>
                  </a:cubicBezTo>
                  <a:cubicBezTo>
                    <a:pt x="34212" y="17260"/>
                    <a:pt x="37162" y="10554"/>
                    <a:pt x="43600" y="72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9" name="Freeform: Shape 28">
              <a:extLst>
                <a:ext uri="{FF2B5EF4-FFF2-40B4-BE49-F238E27FC236}">
                  <a16:creationId xmlns:a16="http://schemas.microsoft.com/office/drawing/2014/main" id="{04810625-13CB-AD80-32C6-A34E53316921}"/>
                </a:ext>
              </a:extLst>
            </p:cNvPr>
            <p:cNvSpPr/>
            <p:nvPr/>
          </p:nvSpPr>
          <p:spPr>
            <a:xfrm>
              <a:off x="1708213" y="3606227"/>
              <a:ext cx="133299" cy="53708"/>
            </a:xfrm>
            <a:custGeom>
              <a:avLst/>
              <a:gdLst>
                <a:gd name="connsiteX0" fmla="*/ 74837 w 91437"/>
                <a:gd name="connsiteY0" fmla="*/ 36842 h 36841"/>
                <a:gd name="connsiteX1" fmla="*/ 0 w 91437"/>
                <a:gd name="connsiteY1" fmla="*/ 3938 h 36841"/>
                <a:gd name="connsiteX2" fmla="*/ 91379 w 91437"/>
                <a:gd name="connsiteY2" fmla="*/ 13684 h 36841"/>
                <a:gd name="connsiteX3" fmla="*/ 76715 w 91437"/>
                <a:gd name="connsiteY3" fmla="*/ 36752 h 36841"/>
                <a:gd name="connsiteX4" fmla="*/ 74837 w 91437"/>
                <a:gd name="connsiteY4" fmla="*/ 36752 h 36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37" h="36841">
                  <a:moveTo>
                    <a:pt x="74837" y="36842"/>
                  </a:moveTo>
                  <a:cubicBezTo>
                    <a:pt x="52753" y="20032"/>
                    <a:pt x="26376" y="12432"/>
                    <a:pt x="0" y="3938"/>
                  </a:cubicBezTo>
                  <a:cubicBezTo>
                    <a:pt x="32009" y="-3125"/>
                    <a:pt x="62141" y="-1158"/>
                    <a:pt x="91379" y="13684"/>
                  </a:cubicBezTo>
                  <a:cubicBezTo>
                    <a:pt x="92452" y="24592"/>
                    <a:pt x="78593" y="27096"/>
                    <a:pt x="76715" y="36752"/>
                  </a:cubicBezTo>
                  <a:lnTo>
                    <a:pt x="74837" y="36752"/>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0" name="Freeform: Shape 29">
              <a:extLst>
                <a:ext uri="{FF2B5EF4-FFF2-40B4-BE49-F238E27FC236}">
                  <a16:creationId xmlns:a16="http://schemas.microsoft.com/office/drawing/2014/main" id="{6BDCC8AA-72CF-3909-3E1D-875834C5A622}"/>
                </a:ext>
              </a:extLst>
            </p:cNvPr>
            <p:cNvSpPr/>
            <p:nvPr/>
          </p:nvSpPr>
          <p:spPr>
            <a:xfrm>
              <a:off x="5482784" y="6265669"/>
              <a:ext cx="86027" cy="28319"/>
            </a:xfrm>
            <a:custGeom>
              <a:avLst/>
              <a:gdLst>
                <a:gd name="connsiteX0" fmla="*/ 0 w 59011"/>
                <a:gd name="connsiteY0" fmla="*/ 9583 h 19425"/>
                <a:gd name="connsiteX1" fmla="*/ 59012 w 59011"/>
                <a:gd name="connsiteY1" fmla="*/ 11639 h 19425"/>
                <a:gd name="connsiteX2" fmla="*/ 0 w 59011"/>
                <a:gd name="connsiteY2" fmla="*/ 9583 h 19425"/>
              </a:gdLst>
              <a:ahLst/>
              <a:cxnLst>
                <a:cxn ang="0">
                  <a:pos x="connsiteX0" y="connsiteY0"/>
                </a:cxn>
                <a:cxn ang="0">
                  <a:pos x="connsiteX1" y="connsiteY1"/>
                </a:cxn>
                <a:cxn ang="0">
                  <a:pos x="connsiteX2" y="connsiteY2"/>
                </a:cxn>
              </a:cxnLst>
              <a:rect l="l" t="t" r="r" b="b"/>
              <a:pathLst>
                <a:path w="59011" h="19425">
                  <a:moveTo>
                    <a:pt x="0" y="9583"/>
                  </a:moveTo>
                  <a:cubicBezTo>
                    <a:pt x="22532" y="1893"/>
                    <a:pt x="41487" y="-8389"/>
                    <a:pt x="59012" y="11639"/>
                  </a:cubicBezTo>
                  <a:cubicBezTo>
                    <a:pt x="45064" y="22664"/>
                    <a:pt x="25393" y="21984"/>
                    <a:pt x="0" y="958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1" name="Freeform: Shape 30">
              <a:extLst>
                <a:ext uri="{FF2B5EF4-FFF2-40B4-BE49-F238E27FC236}">
                  <a16:creationId xmlns:a16="http://schemas.microsoft.com/office/drawing/2014/main" id="{0AC70D3F-558C-137F-B527-3CFB7EB3D06F}"/>
                </a:ext>
              </a:extLst>
            </p:cNvPr>
            <p:cNvSpPr/>
            <p:nvPr/>
          </p:nvSpPr>
          <p:spPr>
            <a:xfrm>
              <a:off x="5934459" y="6242452"/>
              <a:ext cx="84831" cy="30039"/>
            </a:xfrm>
            <a:custGeom>
              <a:avLst/>
              <a:gdLst>
                <a:gd name="connsiteX0" fmla="*/ 58190 w 58190"/>
                <a:gd name="connsiteY0" fmla="*/ 2350 h 20605"/>
                <a:gd name="connsiteX1" fmla="*/ 2934 w 58190"/>
                <a:gd name="connsiteY1" fmla="*/ 19606 h 20605"/>
                <a:gd name="connsiteX2" fmla="*/ 2666 w 58190"/>
                <a:gd name="connsiteY2" fmla="*/ 9235 h 20605"/>
                <a:gd name="connsiteX3" fmla="*/ 58190 w 58190"/>
                <a:gd name="connsiteY3" fmla="*/ 2350 h 20605"/>
              </a:gdLst>
              <a:ahLst/>
              <a:cxnLst>
                <a:cxn ang="0">
                  <a:pos x="connsiteX0" y="connsiteY0"/>
                </a:cxn>
                <a:cxn ang="0">
                  <a:pos x="connsiteX1" y="connsiteY1"/>
                </a:cxn>
                <a:cxn ang="0">
                  <a:pos x="connsiteX2" y="connsiteY2"/>
                </a:cxn>
                <a:cxn ang="0">
                  <a:pos x="connsiteX3" y="connsiteY3"/>
                </a:cxn>
              </a:cxnLst>
              <a:rect l="l" t="t" r="r" b="b"/>
              <a:pathLst>
                <a:path w="58190" h="20605">
                  <a:moveTo>
                    <a:pt x="58190" y="2350"/>
                  </a:moveTo>
                  <a:cubicBezTo>
                    <a:pt x="41381" y="23809"/>
                    <a:pt x="21710" y="21126"/>
                    <a:pt x="2934" y="19606"/>
                  </a:cubicBezTo>
                  <a:cubicBezTo>
                    <a:pt x="-1626" y="19249"/>
                    <a:pt x="-196" y="12364"/>
                    <a:pt x="2666" y="9235"/>
                  </a:cubicBezTo>
                  <a:cubicBezTo>
                    <a:pt x="19117" y="-8111"/>
                    <a:pt x="37626" y="4764"/>
                    <a:pt x="58190" y="235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2" name="Freeform: Shape 31">
              <a:extLst>
                <a:ext uri="{FF2B5EF4-FFF2-40B4-BE49-F238E27FC236}">
                  <a16:creationId xmlns:a16="http://schemas.microsoft.com/office/drawing/2014/main" id="{5798CECF-CA43-F066-CF9E-8EB93D4D5577}"/>
                </a:ext>
              </a:extLst>
            </p:cNvPr>
            <p:cNvSpPr/>
            <p:nvPr/>
          </p:nvSpPr>
          <p:spPr>
            <a:xfrm>
              <a:off x="8938920" y="4012292"/>
              <a:ext cx="28479" cy="26768"/>
            </a:xfrm>
            <a:custGeom>
              <a:avLst/>
              <a:gdLst>
                <a:gd name="connsiteX0" fmla="*/ 0 w 19535"/>
                <a:gd name="connsiteY0" fmla="*/ 3200 h 18361"/>
                <a:gd name="connsiteX1" fmla="*/ 11355 w 19535"/>
                <a:gd name="connsiteY1" fmla="*/ 696 h 18361"/>
                <a:gd name="connsiteX2" fmla="*/ 19134 w 19535"/>
                <a:gd name="connsiteY2" fmla="*/ 8296 h 18361"/>
                <a:gd name="connsiteX3" fmla="*/ 536 w 19535"/>
                <a:gd name="connsiteY3" fmla="*/ 18132 h 18361"/>
                <a:gd name="connsiteX4" fmla="*/ 0 w 19535"/>
                <a:gd name="connsiteY4" fmla="*/ 3200 h 1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35" h="18361">
                  <a:moveTo>
                    <a:pt x="0" y="3200"/>
                  </a:moveTo>
                  <a:cubicBezTo>
                    <a:pt x="3756" y="2395"/>
                    <a:pt x="7600" y="1590"/>
                    <a:pt x="11355" y="696"/>
                  </a:cubicBezTo>
                  <a:cubicBezTo>
                    <a:pt x="18598" y="-1539"/>
                    <a:pt x="20476" y="1769"/>
                    <a:pt x="19134" y="8296"/>
                  </a:cubicBezTo>
                  <a:cubicBezTo>
                    <a:pt x="15021" y="15449"/>
                    <a:pt x="9210" y="19383"/>
                    <a:pt x="536" y="18132"/>
                  </a:cubicBezTo>
                  <a:cubicBezTo>
                    <a:pt x="358" y="13125"/>
                    <a:pt x="179" y="8118"/>
                    <a:pt x="0" y="32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3" name="Freeform: Shape 32">
              <a:extLst>
                <a:ext uri="{FF2B5EF4-FFF2-40B4-BE49-F238E27FC236}">
                  <a16:creationId xmlns:a16="http://schemas.microsoft.com/office/drawing/2014/main" id="{571E27C0-C6F5-D075-C88A-76FED72C3F23}"/>
                </a:ext>
              </a:extLst>
            </p:cNvPr>
            <p:cNvSpPr/>
            <p:nvPr/>
          </p:nvSpPr>
          <p:spPr>
            <a:xfrm>
              <a:off x="5513677" y="5848280"/>
              <a:ext cx="25156" cy="22085"/>
            </a:xfrm>
            <a:custGeom>
              <a:avLst/>
              <a:gdLst>
                <a:gd name="connsiteX0" fmla="*/ 17256 w 17256"/>
                <a:gd name="connsiteY0" fmla="*/ 4948 h 15149"/>
                <a:gd name="connsiteX1" fmla="*/ 6169 w 17256"/>
                <a:gd name="connsiteY1" fmla="*/ 14872 h 15149"/>
                <a:gd name="connsiteX2" fmla="*/ 0 w 17256"/>
                <a:gd name="connsiteY2" fmla="*/ 9776 h 15149"/>
                <a:gd name="connsiteX3" fmla="*/ 10729 w 17256"/>
                <a:gd name="connsiteY3" fmla="*/ 298 h 15149"/>
                <a:gd name="connsiteX4" fmla="*/ 17256 w 17256"/>
                <a:gd name="connsiteY4" fmla="*/ 5037 h 15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56" h="15149">
                  <a:moveTo>
                    <a:pt x="17256" y="4948"/>
                  </a:moveTo>
                  <a:cubicBezTo>
                    <a:pt x="16004" y="10938"/>
                    <a:pt x="11445" y="13352"/>
                    <a:pt x="6169" y="14872"/>
                  </a:cubicBezTo>
                  <a:cubicBezTo>
                    <a:pt x="1788" y="16124"/>
                    <a:pt x="89" y="12905"/>
                    <a:pt x="0" y="9776"/>
                  </a:cubicBezTo>
                  <a:cubicBezTo>
                    <a:pt x="0" y="2981"/>
                    <a:pt x="5901" y="1818"/>
                    <a:pt x="10729" y="298"/>
                  </a:cubicBezTo>
                  <a:cubicBezTo>
                    <a:pt x="14127" y="-775"/>
                    <a:pt x="16720" y="1103"/>
                    <a:pt x="17256" y="503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4" name="Freeform: Shape 33">
              <a:extLst>
                <a:ext uri="{FF2B5EF4-FFF2-40B4-BE49-F238E27FC236}">
                  <a16:creationId xmlns:a16="http://schemas.microsoft.com/office/drawing/2014/main" id="{A08B3A14-41DF-19EE-B12C-5711CA9C78A5}"/>
                </a:ext>
              </a:extLst>
            </p:cNvPr>
            <p:cNvSpPr/>
            <p:nvPr/>
          </p:nvSpPr>
          <p:spPr>
            <a:xfrm>
              <a:off x="9474984" y="5142912"/>
              <a:ext cx="99503" cy="89446"/>
            </a:xfrm>
            <a:custGeom>
              <a:avLst/>
              <a:gdLst>
                <a:gd name="connsiteX0" fmla="*/ 68256 w 68255"/>
                <a:gd name="connsiteY0" fmla="*/ 8746 h 61355"/>
                <a:gd name="connsiteX1" fmla="*/ 54576 w 68255"/>
                <a:gd name="connsiteY1" fmla="*/ 46031 h 61355"/>
                <a:gd name="connsiteX2" fmla="*/ 35085 w 68255"/>
                <a:gd name="connsiteY2" fmla="*/ 53094 h 61355"/>
                <a:gd name="connsiteX3" fmla="*/ 1823 w 68255"/>
                <a:gd name="connsiteY3" fmla="*/ 15809 h 61355"/>
                <a:gd name="connsiteX4" fmla="*/ 20242 w 68255"/>
                <a:gd name="connsiteY4" fmla="*/ 2487 h 61355"/>
                <a:gd name="connsiteX5" fmla="*/ 59762 w 68255"/>
                <a:gd name="connsiteY5" fmla="*/ 73 h 61355"/>
                <a:gd name="connsiteX6" fmla="*/ 68256 w 68255"/>
                <a:gd name="connsiteY6" fmla="*/ 8746 h 6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55" h="61355">
                  <a:moveTo>
                    <a:pt x="68256" y="8746"/>
                  </a:moveTo>
                  <a:cubicBezTo>
                    <a:pt x="57885" y="19028"/>
                    <a:pt x="53414" y="31456"/>
                    <a:pt x="54576" y="46031"/>
                  </a:cubicBezTo>
                  <a:cubicBezTo>
                    <a:pt x="56543" y="71513"/>
                    <a:pt x="44473" y="58816"/>
                    <a:pt x="35085" y="53094"/>
                  </a:cubicBezTo>
                  <a:cubicBezTo>
                    <a:pt x="9959" y="53809"/>
                    <a:pt x="10228" y="29132"/>
                    <a:pt x="1823" y="15809"/>
                  </a:cubicBezTo>
                  <a:cubicBezTo>
                    <a:pt x="-5509" y="4007"/>
                    <a:pt x="11033" y="3560"/>
                    <a:pt x="20242" y="2487"/>
                  </a:cubicBezTo>
                  <a:cubicBezTo>
                    <a:pt x="33833" y="8478"/>
                    <a:pt x="46440" y="-911"/>
                    <a:pt x="59762" y="73"/>
                  </a:cubicBezTo>
                  <a:cubicBezTo>
                    <a:pt x="62623" y="2934"/>
                    <a:pt x="65395" y="5885"/>
                    <a:pt x="68256" y="874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5" name="Freeform: Shape 34">
              <a:extLst>
                <a:ext uri="{FF2B5EF4-FFF2-40B4-BE49-F238E27FC236}">
                  <a16:creationId xmlns:a16="http://schemas.microsoft.com/office/drawing/2014/main" id="{8722BDE3-D850-43E9-E589-6E0F95DE6EA0}"/>
                </a:ext>
              </a:extLst>
            </p:cNvPr>
            <p:cNvSpPr/>
            <p:nvPr/>
          </p:nvSpPr>
          <p:spPr>
            <a:xfrm>
              <a:off x="5535964" y="9462329"/>
              <a:ext cx="45343" cy="68661"/>
            </a:xfrm>
            <a:custGeom>
              <a:avLst/>
              <a:gdLst>
                <a:gd name="connsiteX0" fmla="*/ 5275 w 31102"/>
                <a:gd name="connsiteY0" fmla="*/ 19386 h 47098"/>
                <a:gd name="connsiteX1" fmla="*/ 19313 w 31102"/>
                <a:gd name="connsiteY1" fmla="*/ 162 h 47098"/>
                <a:gd name="connsiteX2" fmla="*/ 27450 w 31102"/>
                <a:gd name="connsiteY2" fmla="*/ 36017 h 47098"/>
                <a:gd name="connsiteX3" fmla="*/ 25661 w 31102"/>
                <a:gd name="connsiteY3" fmla="*/ 46835 h 47098"/>
                <a:gd name="connsiteX4" fmla="*/ 6796 w 31102"/>
                <a:gd name="connsiteY4" fmla="*/ 40576 h 47098"/>
                <a:gd name="connsiteX5" fmla="*/ 5275 w 31102"/>
                <a:gd name="connsiteY5" fmla="*/ 19475 h 4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02" h="47098">
                  <a:moveTo>
                    <a:pt x="5275" y="19386"/>
                  </a:moveTo>
                  <a:cubicBezTo>
                    <a:pt x="6438" y="10444"/>
                    <a:pt x="3487" y="-1536"/>
                    <a:pt x="19313" y="162"/>
                  </a:cubicBezTo>
                  <a:cubicBezTo>
                    <a:pt x="30042" y="10266"/>
                    <a:pt x="35049" y="21710"/>
                    <a:pt x="27450" y="36017"/>
                  </a:cubicBezTo>
                  <a:cubicBezTo>
                    <a:pt x="26824" y="39593"/>
                    <a:pt x="26287" y="43169"/>
                    <a:pt x="25661" y="46835"/>
                  </a:cubicBezTo>
                  <a:cubicBezTo>
                    <a:pt x="18240" y="48087"/>
                    <a:pt x="12428" y="44689"/>
                    <a:pt x="6796" y="40576"/>
                  </a:cubicBezTo>
                  <a:cubicBezTo>
                    <a:pt x="-8226" y="34586"/>
                    <a:pt x="6527" y="26450"/>
                    <a:pt x="5275" y="1947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6" name="Freeform: Shape 35">
              <a:extLst>
                <a:ext uri="{FF2B5EF4-FFF2-40B4-BE49-F238E27FC236}">
                  <a16:creationId xmlns:a16="http://schemas.microsoft.com/office/drawing/2014/main" id="{6F70B434-33AD-742F-8999-479066B91E6F}"/>
                </a:ext>
              </a:extLst>
            </p:cNvPr>
            <p:cNvSpPr/>
            <p:nvPr/>
          </p:nvSpPr>
          <p:spPr>
            <a:xfrm>
              <a:off x="5559579" y="2744562"/>
              <a:ext cx="976789" cy="957457"/>
            </a:xfrm>
            <a:custGeom>
              <a:avLst/>
              <a:gdLst>
                <a:gd name="connsiteX0" fmla="*/ 531895 w 670032"/>
                <a:gd name="connsiteY0" fmla="*/ 289482 h 656770"/>
                <a:gd name="connsiteX1" fmla="*/ 565424 w 670032"/>
                <a:gd name="connsiteY1" fmla="*/ 335082 h 656770"/>
                <a:gd name="connsiteX2" fmla="*/ 608520 w 670032"/>
                <a:gd name="connsiteY2" fmla="*/ 382470 h 656770"/>
                <a:gd name="connsiteX3" fmla="*/ 643391 w 670032"/>
                <a:gd name="connsiteY3" fmla="*/ 398832 h 656770"/>
                <a:gd name="connsiteX4" fmla="*/ 667264 w 670032"/>
                <a:gd name="connsiteY4" fmla="*/ 398832 h 656770"/>
                <a:gd name="connsiteX5" fmla="*/ 661363 w 670032"/>
                <a:gd name="connsiteY5" fmla="*/ 423689 h 656770"/>
                <a:gd name="connsiteX6" fmla="*/ 640440 w 670032"/>
                <a:gd name="connsiteY6" fmla="*/ 458112 h 656770"/>
                <a:gd name="connsiteX7" fmla="*/ 601904 w 670032"/>
                <a:gd name="connsiteY7" fmla="*/ 510507 h 656770"/>
                <a:gd name="connsiteX8" fmla="*/ 559255 w 670032"/>
                <a:gd name="connsiteY8" fmla="*/ 445773 h 656770"/>
                <a:gd name="connsiteX9" fmla="*/ 516784 w 670032"/>
                <a:gd name="connsiteY9" fmla="*/ 427176 h 656770"/>
                <a:gd name="connsiteX10" fmla="*/ 512671 w 670032"/>
                <a:gd name="connsiteY10" fmla="*/ 447383 h 656770"/>
                <a:gd name="connsiteX11" fmla="*/ 539584 w 670032"/>
                <a:gd name="connsiteY11" fmla="*/ 511133 h 656770"/>
                <a:gd name="connsiteX12" fmla="*/ 551655 w 670032"/>
                <a:gd name="connsiteY12" fmla="*/ 599204 h 656770"/>
                <a:gd name="connsiteX13" fmla="*/ 513387 w 670032"/>
                <a:gd name="connsiteY13" fmla="*/ 607072 h 656770"/>
                <a:gd name="connsiteX14" fmla="*/ 463853 w 670032"/>
                <a:gd name="connsiteY14" fmla="*/ 578549 h 656770"/>
                <a:gd name="connsiteX15" fmla="*/ 494699 w 670032"/>
                <a:gd name="connsiteY15" fmla="*/ 621109 h 656770"/>
                <a:gd name="connsiteX16" fmla="*/ 508201 w 670032"/>
                <a:gd name="connsiteY16" fmla="*/ 651152 h 656770"/>
                <a:gd name="connsiteX17" fmla="*/ 478158 w 670032"/>
                <a:gd name="connsiteY17" fmla="*/ 651420 h 656770"/>
                <a:gd name="connsiteX18" fmla="*/ 345829 w 670032"/>
                <a:gd name="connsiteY18" fmla="*/ 538761 h 656770"/>
                <a:gd name="connsiteX19" fmla="*/ 313194 w 670032"/>
                <a:gd name="connsiteY19" fmla="*/ 517928 h 656770"/>
                <a:gd name="connsiteX20" fmla="*/ 282436 w 670032"/>
                <a:gd name="connsiteY20" fmla="*/ 494056 h 656770"/>
                <a:gd name="connsiteX21" fmla="*/ 277161 w 670032"/>
                <a:gd name="connsiteY21" fmla="*/ 529999 h 656770"/>
                <a:gd name="connsiteX22" fmla="*/ 230399 w 670032"/>
                <a:gd name="connsiteY22" fmla="*/ 524545 h 656770"/>
                <a:gd name="connsiteX23" fmla="*/ 224498 w 670032"/>
                <a:gd name="connsiteY23" fmla="*/ 517660 h 656770"/>
                <a:gd name="connsiteX24" fmla="*/ 296385 w 670032"/>
                <a:gd name="connsiteY24" fmla="*/ 476799 h 656770"/>
                <a:gd name="connsiteX25" fmla="*/ 341895 w 670032"/>
                <a:gd name="connsiteY25" fmla="*/ 443270 h 656770"/>
                <a:gd name="connsiteX26" fmla="*/ 364874 w 670032"/>
                <a:gd name="connsiteY26" fmla="*/ 409562 h 656770"/>
                <a:gd name="connsiteX27" fmla="*/ 393396 w 670032"/>
                <a:gd name="connsiteY27" fmla="*/ 328644 h 656770"/>
                <a:gd name="connsiteX28" fmla="*/ 384723 w 670032"/>
                <a:gd name="connsiteY28" fmla="*/ 290465 h 656770"/>
                <a:gd name="connsiteX29" fmla="*/ 345740 w 670032"/>
                <a:gd name="connsiteY29" fmla="*/ 289124 h 656770"/>
                <a:gd name="connsiteX30" fmla="*/ 317665 w 670032"/>
                <a:gd name="connsiteY30" fmla="*/ 296009 h 656770"/>
                <a:gd name="connsiteX31" fmla="*/ 270008 w 670032"/>
                <a:gd name="connsiteY31" fmla="*/ 210263 h 656770"/>
                <a:gd name="connsiteX32" fmla="*/ 255792 w 670032"/>
                <a:gd name="connsiteY32" fmla="*/ 203468 h 656770"/>
                <a:gd name="connsiteX33" fmla="*/ 222799 w 670032"/>
                <a:gd name="connsiteY33" fmla="*/ 236282 h 656770"/>
                <a:gd name="connsiteX34" fmla="*/ 223693 w 670032"/>
                <a:gd name="connsiteY34" fmla="*/ 236997 h 656770"/>
                <a:gd name="connsiteX35" fmla="*/ 185067 w 670032"/>
                <a:gd name="connsiteY35" fmla="*/ 227877 h 656770"/>
                <a:gd name="connsiteX36" fmla="*/ 157528 w 670032"/>
                <a:gd name="connsiteY36" fmla="*/ 216611 h 656770"/>
                <a:gd name="connsiteX37" fmla="*/ 72856 w 670032"/>
                <a:gd name="connsiteY37" fmla="*/ 192292 h 656770"/>
                <a:gd name="connsiteX38" fmla="*/ 52023 w 670032"/>
                <a:gd name="connsiteY38" fmla="*/ 187284 h 656770"/>
                <a:gd name="connsiteX39" fmla="*/ 8032 w 670032"/>
                <a:gd name="connsiteY39" fmla="*/ 171280 h 656770"/>
                <a:gd name="connsiteX40" fmla="*/ 20282 w 670032"/>
                <a:gd name="connsiteY40" fmla="*/ 146334 h 656770"/>
                <a:gd name="connsiteX41" fmla="*/ 32352 w 670032"/>
                <a:gd name="connsiteY41" fmla="*/ 148569 h 656770"/>
                <a:gd name="connsiteX42" fmla="*/ 35214 w 670032"/>
                <a:gd name="connsiteY42" fmla="*/ 149910 h 656770"/>
                <a:gd name="connsiteX43" fmla="*/ 32442 w 670032"/>
                <a:gd name="connsiteY43" fmla="*/ 147765 h 656770"/>
                <a:gd name="connsiteX44" fmla="*/ 14291 w 670032"/>
                <a:gd name="connsiteY44" fmla="*/ 139449 h 656770"/>
                <a:gd name="connsiteX45" fmla="*/ 14559 w 670032"/>
                <a:gd name="connsiteY45" fmla="*/ 72569 h 656770"/>
                <a:gd name="connsiteX46" fmla="*/ 148677 w 670032"/>
                <a:gd name="connsiteY46" fmla="*/ 2560 h 656770"/>
                <a:gd name="connsiteX47" fmla="*/ 150376 w 670032"/>
                <a:gd name="connsiteY47" fmla="*/ 6047 h 656770"/>
                <a:gd name="connsiteX48" fmla="*/ 128559 w 670032"/>
                <a:gd name="connsiteY48" fmla="*/ 21158 h 656770"/>
                <a:gd name="connsiteX49" fmla="*/ 108889 w 670032"/>
                <a:gd name="connsiteY49" fmla="*/ 45388 h 656770"/>
                <a:gd name="connsiteX50" fmla="*/ 105312 w 670032"/>
                <a:gd name="connsiteY50" fmla="*/ 137572 h 656770"/>
                <a:gd name="connsiteX51" fmla="*/ 120333 w 670032"/>
                <a:gd name="connsiteY51" fmla="*/ 150715 h 656770"/>
                <a:gd name="connsiteX52" fmla="*/ 130169 w 670032"/>
                <a:gd name="connsiteY52" fmla="*/ 137661 h 656770"/>
                <a:gd name="connsiteX53" fmla="*/ 124804 w 670032"/>
                <a:gd name="connsiteY53" fmla="*/ 114861 h 656770"/>
                <a:gd name="connsiteX54" fmla="*/ 144206 w 670032"/>
                <a:gd name="connsiteY54" fmla="*/ 91078 h 656770"/>
                <a:gd name="connsiteX55" fmla="*/ 132762 w 670032"/>
                <a:gd name="connsiteY55" fmla="*/ 47802 h 656770"/>
                <a:gd name="connsiteX56" fmla="*/ 162357 w 670032"/>
                <a:gd name="connsiteY56" fmla="*/ 40381 h 656770"/>
                <a:gd name="connsiteX57" fmla="*/ 227985 w 670032"/>
                <a:gd name="connsiteY57" fmla="*/ 15704 h 656770"/>
                <a:gd name="connsiteX58" fmla="*/ 234691 w 670032"/>
                <a:gd name="connsiteY58" fmla="*/ 82852 h 656770"/>
                <a:gd name="connsiteX59" fmla="*/ 232098 w 670032"/>
                <a:gd name="connsiteY59" fmla="*/ 112805 h 656770"/>
                <a:gd name="connsiteX60" fmla="*/ 259368 w 670032"/>
                <a:gd name="connsiteY60" fmla="*/ 84282 h 656770"/>
                <a:gd name="connsiteX61" fmla="*/ 266789 w 670032"/>
                <a:gd name="connsiteY61" fmla="*/ 100466 h 656770"/>
                <a:gd name="connsiteX62" fmla="*/ 278234 w 670032"/>
                <a:gd name="connsiteY62" fmla="*/ 112000 h 656770"/>
                <a:gd name="connsiteX63" fmla="*/ 294060 w 670032"/>
                <a:gd name="connsiteY63" fmla="*/ 103685 h 656770"/>
                <a:gd name="connsiteX64" fmla="*/ 313909 w 670032"/>
                <a:gd name="connsiteY64" fmla="*/ 82405 h 656770"/>
                <a:gd name="connsiteX65" fmla="*/ 358526 w 670032"/>
                <a:gd name="connsiteY65" fmla="*/ 114325 h 656770"/>
                <a:gd name="connsiteX66" fmla="*/ 366036 w 670032"/>
                <a:gd name="connsiteY66" fmla="*/ 121388 h 656770"/>
                <a:gd name="connsiteX67" fmla="*/ 378554 w 670032"/>
                <a:gd name="connsiteY67" fmla="*/ 136856 h 656770"/>
                <a:gd name="connsiteX68" fmla="*/ 412530 w 670032"/>
                <a:gd name="connsiteY68" fmla="*/ 164574 h 656770"/>
                <a:gd name="connsiteX69" fmla="*/ 428267 w 670032"/>
                <a:gd name="connsiteY69" fmla="*/ 151073 h 656770"/>
                <a:gd name="connsiteX70" fmla="*/ 481288 w 670032"/>
                <a:gd name="connsiteY70" fmla="*/ 157332 h 656770"/>
                <a:gd name="connsiteX71" fmla="*/ 473509 w 670032"/>
                <a:gd name="connsiteY71" fmla="*/ 171369 h 656770"/>
                <a:gd name="connsiteX72" fmla="*/ 445434 w 670032"/>
                <a:gd name="connsiteY72" fmla="*/ 179237 h 656770"/>
                <a:gd name="connsiteX73" fmla="*/ 438460 w 670032"/>
                <a:gd name="connsiteY73" fmla="*/ 192649 h 656770"/>
                <a:gd name="connsiteX74" fmla="*/ 451246 w 670032"/>
                <a:gd name="connsiteY74" fmla="*/ 197030 h 656770"/>
                <a:gd name="connsiteX75" fmla="*/ 530285 w 670032"/>
                <a:gd name="connsiteY75" fmla="*/ 198550 h 656770"/>
                <a:gd name="connsiteX76" fmla="*/ 537528 w 670032"/>
                <a:gd name="connsiteY76" fmla="*/ 203110 h 656770"/>
                <a:gd name="connsiteX77" fmla="*/ 533683 w 670032"/>
                <a:gd name="connsiteY77" fmla="*/ 214019 h 656770"/>
                <a:gd name="connsiteX78" fmla="*/ 502121 w 670032"/>
                <a:gd name="connsiteY78" fmla="*/ 226179 h 656770"/>
                <a:gd name="connsiteX79" fmla="*/ 545843 w 670032"/>
                <a:gd name="connsiteY79" fmla="*/ 231811 h 656770"/>
                <a:gd name="connsiteX80" fmla="*/ 567659 w 670032"/>
                <a:gd name="connsiteY80" fmla="*/ 237087 h 656770"/>
                <a:gd name="connsiteX81" fmla="*/ 555142 w 670032"/>
                <a:gd name="connsiteY81" fmla="*/ 251840 h 656770"/>
                <a:gd name="connsiteX82" fmla="*/ 539763 w 670032"/>
                <a:gd name="connsiteY82" fmla="*/ 274729 h 656770"/>
                <a:gd name="connsiteX83" fmla="*/ 532074 w 670032"/>
                <a:gd name="connsiteY83" fmla="*/ 289929 h 65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70032" h="656770">
                  <a:moveTo>
                    <a:pt x="531895" y="289482"/>
                  </a:moveTo>
                  <a:cubicBezTo>
                    <a:pt x="534756" y="310762"/>
                    <a:pt x="550671" y="327124"/>
                    <a:pt x="565424" y="335082"/>
                  </a:cubicBezTo>
                  <a:cubicBezTo>
                    <a:pt x="586883" y="346705"/>
                    <a:pt x="600831" y="360475"/>
                    <a:pt x="608520" y="382470"/>
                  </a:cubicBezTo>
                  <a:cubicBezTo>
                    <a:pt x="614600" y="399637"/>
                    <a:pt x="626224" y="406253"/>
                    <a:pt x="643391" y="398832"/>
                  </a:cubicBezTo>
                  <a:cubicBezTo>
                    <a:pt x="651796" y="395256"/>
                    <a:pt x="660290" y="391679"/>
                    <a:pt x="667264" y="398832"/>
                  </a:cubicBezTo>
                  <a:cubicBezTo>
                    <a:pt x="677099" y="409025"/>
                    <a:pt x="657250" y="413853"/>
                    <a:pt x="661363" y="423689"/>
                  </a:cubicBezTo>
                  <a:cubicBezTo>
                    <a:pt x="648934" y="431825"/>
                    <a:pt x="647593" y="446757"/>
                    <a:pt x="640440" y="458112"/>
                  </a:cubicBezTo>
                  <a:cubicBezTo>
                    <a:pt x="615048" y="465086"/>
                    <a:pt x="608073" y="485651"/>
                    <a:pt x="601904" y="510507"/>
                  </a:cubicBezTo>
                  <a:cubicBezTo>
                    <a:pt x="594840" y="483773"/>
                    <a:pt x="551834" y="484131"/>
                    <a:pt x="559255" y="445773"/>
                  </a:cubicBezTo>
                  <a:cubicBezTo>
                    <a:pt x="559970" y="441929"/>
                    <a:pt x="533504" y="425566"/>
                    <a:pt x="516784" y="427176"/>
                  </a:cubicBezTo>
                  <a:cubicBezTo>
                    <a:pt x="499885" y="428875"/>
                    <a:pt x="514549" y="444790"/>
                    <a:pt x="512671" y="447383"/>
                  </a:cubicBezTo>
                  <a:cubicBezTo>
                    <a:pt x="485222" y="484757"/>
                    <a:pt x="524026" y="493251"/>
                    <a:pt x="539584" y="511133"/>
                  </a:cubicBezTo>
                  <a:cubicBezTo>
                    <a:pt x="561132" y="536079"/>
                    <a:pt x="565156" y="576940"/>
                    <a:pt x="551655" y="599204"/>
                  </a:cubicBezTo>
                  <a:cubicBezTo>
                    <a:pt x="540031" y="618427"/>
                    <a:pt x="529481" y="617801"/>
                    <a:pt x="513387" y="607072"/>
                  </a:cubicBezTo>
                  <a:cubicBezTo>
                    <a:pt x="499170" y="597594"/>
                    <a:pt x="483791" y="589905"/>
                    <a:pt x="463853" y="578549"/>
                  </a:cubicBezTo>
                  <a:cubicBezTo>
                    <a:pt x="465730" y="604032"/>
                    <a:pt x="483166" y="610469"/>
                    <a:pt x="494699" y="621109"/>
                  </a:cubicBezTo>
                  <a:cubicBezTo>
                    <a:pt x="503641" y="629425"/>
                    <a:pt x="515085" y="639528"/>
                    <a:pt x="508201" y="651152"/>
                  </a:cubicBezTo>
                  <a:cubicBezTo>
                    <a:pt x="502121" y="661434"/>
                    <a:pt x="488083" y="655175"/>
                    <a:pt x="478158" y="651420"/>
                  </a:cubicBezTo>
                  <a:cubicBezTo>
                    <a:pt x="420756" y="629693"/>
                    <a:pt x="372116" y="597862"/>
                    <a:pt x="345829" y="538761"/>
                  </a:cubicBezTo>
                  <a:cubicBezTo>
                    <a:pt x="340643" y="527138"/>
                    <a:pt x="338587" y="507020"/>
                    <a:pt x="313194" y="517928"/>
                  </a:cubicBezTo>
                  <a:cubicBezTo>
                    <a:pt x="299425" y="523830"/>
                    <a:pt x="303180" y="491910"/>
                    <a:pt x="282436" y="494056"/>
                  </a:cubicBezTo>
                  <a:cubicBezTo>
                    <a:pt x="277161" y="504964"/>
                    <a:pt x="293434" y="522488"/>
                    <a:pt x="277161" y="529999"/>
                  </a:cubicBezTo>
                  <a:cubicBezTo>
                    <a:pt x="261782" y="537063"/>
                    <a:pt x="245241" y="533039"/>
                    <a:pt x="230399" y="524545"/>
                  </a:cubicBezTo>
                  <a:cubicBezTo>
                    <a:pt x="227448" y="523025"/>
                    <a:pt x="225481" y="520790"/>
                    <a:pt x="224498" y="517660"/>
                  </a:cubicBezTo>
                  <a:cubicBezTo>
                    <a:pt x="251321" y="464729"/>
                    <a:pt x="248192" y="469825"/>
                    <a:pt x="296385" y="476799"/>
                  </a:cubicBezTo>
                  <a:cubicBezTo>
                    <a:pt x="317128" y="479839"/>
                    <a:pt x="349674" y="487528"/>
                    <a:pt x="341895" y="443270"/>
                  </a:cubicBezTo>
                  <a:cubicBezTo>
                    <a:pt x="339392" y="429053"/>
                    <a:pt x="353876" y="418145"/>
                    <a:pt x="364874" y="409562"/>
                  </a:cubicBezTo>
                  <a:cubicBezTo>
                    <a:pt x="391876" y="388550"/>
                    <a:pt x="419505" y="369773"/>
                    <a:pt x="393396" y="328644"/>
                  </a:cubicBezTo>
                  <a:cubicBezTo>
                    <a:pt x="387763" y="319703"/>
                    <a:pt x="391608" y="303341"/>
                    <a:pt x="384723" y="290465"/>
                  </a:cubicBezTo>
                  <a:cubicBezTo>
                    <a:pt x="371848" y="293505"/>
                    <a:pt x="359509" y="314696"/>
                    <a:pt x="345740" y="289124"/>
                  </a:cubicBezTo>
                  <a:cubicBezTo>
                    <a:pt x="340018" y="278574"/>
                    <a:pt x="328305" y="297082"/>
                    <a:pt x="317665" y="296009"/>
                  </a:cubicBezTo>
                  <a:cubicBezTo>
                    <a:pt x="331613" y="266682"/>
                    <a:pt x="308187" y="224659"/>
                    <a:pt x="270008" y="210263"/>
                  </a:cubicBezTo>
                  <a:cubicBezTo>
                    <a:pt x="266163" y="206061"/>
                    <a:pt x="264375" y="197746"/>
                    <a:pt x="255792" y="203468"/>
                  </a:cubicBezTo>
                  <a:cubicBezTo>
                    <a:pt x="256927" y="226775"/>
                    <a:pt x="245930" y="237713"/>
                    <a:pt x="222799" y="236282"/>
                  </a:cubicBezTo>
                  <a:lnTo>
                    <a:pt x="223693" y="236997"/>
                  </a:lnTo>
                  <a:cubicBezTo>
                    <a:pt x="213142" y="225016"/>
                    <a:pt x="207241" y="200875"/>
                    <a:pt x="185067" y="227877"/>
                  </a:cubicBezTo>
                  <a:cubicBezTo>
                    <a:pt x="177914" y="236550"/>
                    <a:pt x="167722" y="217237"/>
                    <a:pt x="157528" y="216611"/>
                  </a:cubicBezTo>
                  <a:cubicBezTo>
                    <a:pt x="127307" y="214823"/>
                    <a:pt x="99232" y="207223"/>
                    <a:pt x="72856" y="192292"/>
                  </a:cubicBezTo>
                  <a:cubicBezTo>
                    <a:pt x="66597" y="188715"/>
                    <a:pt x="54079" y="184781"/>
                    <a:pt x="52023" y="187284"/>
                  </a:cubicBezTo>
                  <a:cubicBezTo>
                    <a:pt x="21265" y="224301"/>
                    <a:pt x="23053" y="174767"/>
                    <a:pt x="8032" y="171280"/>
                  </a:cubicBezTo>
                  <a:cubicBezTo>
                    <a:pt x="701" y="157332"/>
                    <a:pt x="5797" y="149463"/>
                    <a:pt x="20282" y="146334"/>
                  </a:cubicBezTo>
                  <a:cubicBezTo>
                    <a:pt x="24484" y="145887"/>
                    <a:pt x="28418" y="146870"/>
                    <a:pt x="32352" y="148569"/>
                  </a:cubicBezTo>
                  <a:cubicBezTo>
                    <a:pt x="36376" y="150268"/>
                    <a:pt x="30922" y="148927"/>
                    <a:pt x="35214" y="149910"/>
                  </a:cubicBezTo>
                  <a:cubicBezTo>
                    <a:pt x="35214" y="148033"/>
                    <a:pt x="33336" y="148748"/>
                    <a:pt x="32442" y="147765"/>
                  </a:cubicBezTo>
                  <a:cubicBezTo>
                    <a:pt x="26362" y="144635"/>
                    <a:pt x="19030" y="144814"/>
                    <a:pt x="14291" y="139449"/>
                  </a:cubicBezTo>
                  <a:cubicBezTo>
                    <a:pt x="-11549" y="117275"/>
                    <a:pt x="3383" y="90809"/>
                    <a:pt x="14559" y="72569"/>
                  </a:cubicBezTo>
                  <a:cubicBezTo>
                    <a:pt x="44244" y="23930"/>
                    <a:pt x="85373" y="-9779"/>
                    <a:pt x="148677" y="2560"/>
                  </a:cubicBezTo>
                  <a:cubicBezTo>
                    <a:pt x="149213" y="2650"/>
                    <a:pt x="149482" y="4259"/>
                    <a:pt x="150376" y="6047"/>
                  </a:cubicBezTo>
                  <a:cubicBezTo>
                    <a:pt x="148051" y="17402"/>
                    <a:pt x="136517" y="17224"/>
                    <a:pt x="128559" y="21158"/>
                  </a:cubicBezTo>
                  <a:cubicBezTo>
                    <a:pt x="118098" y="26344"/>
                    <a:pt x="109515" y="34301"/>
                    <a:pt x="108889" y="45388"/>
                  </a:cubicBezTo>
                  <a:cubicBezTo>
                    <a:pt x="107369" y="76056"/>
                    <a:pt x="112376" y="106903"/>
                    <a:pt x="105312" y="137572"/>
                  </a:cubicBezTo>
                  <a:cubicBezTo>
                    <a:pt x="103345" y="146066"/>
                    <a:pt x="113896" y="149374"/>
                    <a:pt x="120333" y="150715"/>
                  </a:cubicBezTo>
                  <a:cubicBezTo>
                    <a:pt x="129900" y="152682"/>
                    <a:pt x="128470" y="143473"/>
                    <a:pt x="130169" y="137661"/>
                  </a:cubicBezTo>
                  <a:cubicBezTo>
                    <a:pt x="132762" y="128720"/>
                    <a:pt x="128917" y="122908"/>
                    <a:pt x="124804" y="114861"/>
                  </a:cubicBezTo>
                  <a:cubicBezTo>
                    <a:pt x="116757" y="99125"/>
                    <a:pt x="116489" y="82673"/>
                    <a:pt x="144206" y="91078"/>
                  </a:cubicBezTo>
                  <a:cubicBezTo>
                    <a:pt x="143938" y="74984"/>
                    <a:pt x="127218" y="64165"/>
                    <a:pt x="132762" y="47802"/>
                  </a:cubicBezTo>
                  <a:cubicBezTo>
                    <a:pt x="140898" y="38504"/>
                    <a:pt x="154220" y="49680"/>
                    <a:pt x="162357" y="40381"/>
                  </a:cubicBezTo>
                  <a:cubicBezTo>
                    <a:pt x="172639" y="22141"/>
                    <a:pt x="225571" y="4080"/>
                    <a:pt x="227985" y="15704"/>
                  </a:cubicBezTo>
                  <a:cubicBezTo>
                    <a:pt x="232545" y="37073"/>
                    <a:pt x="249533" y="60499"/>
                    <a:pt x="234691" y="82852"/>
                  </a:cubicBezTo>
                  <a:cubicBezTo>
                    <a:pt x="227359" y="93849"/>
                    <a:pt x="227448" y="101718"/>
                    <a:pt x="232098" y="112805"/>
                  </a:cubicBezTo>
                  <a:cubicBezTo>
                    <a:pt x="246135" y="107440"/>
                    <a:pt x="254808" y="97873"/>
                    <a:pt x="259368" y="84282"/>
                  </a:cubicBezTo>
                  <a:cubicBezTo>
                    <a:pt x="267952" y="87233"/>
                    <a:pt x="266700" y="93939"/>
                    <a:pt x="266789" y="100466"/>
                  </a:cubicBezTo>
                  <a:cubicBezTo>
                    <a:pt x="266789" y="107619"/>
                    <a:pt x="269651" y="114146"/>
                    <a:pt x="278234" y="112000"/>
                  </a:cubicBezTo>
                  <a:cubicBezTo>
                    <a:pt x="284046" y="110569"/>
                    <a:pt x="294149" y="103953"/>
                    <a:pt x="294060" y="103685"/>
                  </a:cubicBezTo>
                  <a:cubicBezTo>
                    <a:pt x="282258" y="78918"/>
                    <a:pt x="303895" y="77755"/>
                    <a:pt x="313909" y="82405"/>
                  </a:cubicBezTo>
                  <a:cubicBezTo>
                    <a:pt x="330093" y="89915"/>
                    <a:pt x="359062" y="83478"/>
                    <a:pt x="358526" y="114325"/>
                  </a:cubicBezTo>
                  <a:cubicBezTo>
                    <a:pt x="358436" y="120852"/>
                    <a:pt x="362013" y="121656"/>
                    <a:pt x="366036" y="121388"/>
                  </a:cubicBezTo>
                  <a:cubicBezTo>
                    <a:pt x="378464" y="120315"/>
                    <a:pt x="385528" y="117275"/>
                    <a:pt x="378554" y="136856"/>
                  </a:cubicBezTo>
                  <a:cubicBezTo>
                    <a:pt x="375156" y="146334"/>
                    <a:pt x="401443" y="153219"/>
                    <a:pt x="412530" y="164574"/>
                  </a:cubicBezTo>
                  <a:cubicBezTo>
                    <a:pt x="420130" y="172353"/>
                    <a:pt x="423796" y="158315"/>
                    <a:pt x="428267" y="151073"/>
                  </a:cubicBezTo>
                  <a:cubicBezTo>
                    <a:pt x="434257" y="141416"/>
                    <a:pt x="476012" y="147407"/>
                    <a:pt x="481288" y="157332"/>
                  </a:cubicBezTo>
                  <a:cubicBezTo>
                    <a:pt x="485848" y="166004"/>
                    <a:pt x="479142" y="169313"/>
                    <a:pt x="473509" y="171369"/>
                  </a:cubicBezTo>
                  <a:cubicBezTo>
                    <a:pt x="464389" y="174767"/>
                    <a:pt x="454554" y="176019"/>
                    <a:pt x="445434" y="179237"/>
                  </a:cubicBezTo>
                  <a:cubicBezTo>
                    <a:pt x="439890" y="181205"/>
                    <a:pt x="437476" y="187195"/>
                    <a:pt x="438460" y="192649"/>
                  </a:cubicBezTo>
                  <a:cubicBezTo>
                    <a:pt x="439890" y="200070"/>
                    <a:pt x="447043" y="199176"/>
                    <a:pt x="451246" y="197030"/>
                  </a:cubicBezTo>
                  <a:cubicBezTo>
                    <a:pt x="477890" y="183261"/>
                    <a:pt x="503551" y="216254"/>
                    <a:pt x="530285" y="198550"/>
                  </a:cubicBezTo>
                  <a:cubicBezTo>
                    <a:pt x="531358" y="197835"/>
                    <a:pt x="536187" y="200875"/>
                    <a:pt x="537528" y="203110"/>
                  </a:cubicBezTo>
                  <a:cubicBezTo>
                    <a:pt x="540299" y="207670"/>
                    <a:pt x="537528" y="212230"/>
                    <a:pt x="533683" y="214019"/>
                  </a:cubicBezTo>
                  <a:cubicBezTo>
                    <a:pt x="523848" y="218489"/>
                    <a:pt x="513476" y="221887"/>
                    <a:pt x="502121" y="226179"/>
                  </a:cubicBezTo>
                  <a:cubicBezTo>
                    <a:pt x="515353" y="242362"/>
                    <a:pt x="530643" y="237802"/>
                    <a:pt x="545843" y="231811"/>
                  </a:cubicBezTo>
                  <a:cubicBezTo>
                    <a:pt x="554695" y="228324"/>
                    <a:pt x="563457" y="226000"/>
                    <a:pt x="567659" y="237087"/>
                  </a:cubicBezTo>
                  <a:cubicBezTo>
                    <a:pt x="571683" y="247816"/>
                    <a:pt x="561758" y="249068"/>
                    <a:pt x="555142" y="251840"/>
                  </a:cubicBezTo>
                  <a:cubicBezTo>
                    <a:pt x="544949" y="256131"/>
                    <a:pt x="533862" y="259618"/>
                    <a:pt x="539763" y="274729"/>
                  </a:cubicBezTo>
                  <a:cubicBezTo>
                    <a:pt x="543071" y="282776"/>
                    <a:pt x="535740" y="285369"/>
                    <a:pt x="532074" y="2899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7" name="Freeform: Shape 36">
              <a:extLst>
                <a:ext uri="{FF2B5EF4-FFF2-40B4-BE49-F238E27FC236}">
                  <a16:creationId xmlns:a16="http://schemas.microsoft.com/office/drawing/2014/main" id="{D8E55603-3F11-8B6E-1406-988D9976107F}"/>
                </a:ext>
              </a:extLst>
            </p:cNvPr>
            <p:cNvSpPr/>
            <p:nvPr/>
          </p:nvSpPr>
          <p:spPr>
            <a:xfrm>
              <a:off x="4130179" y="2628770"/>
              <a:ext cx="964107" cy="529660"/>
            </a:xfrm>
            <a:custGeom>
              <a:avLst/>
              <a:gdLst>
                <a:gd name="connsiteX0" fmla="*/ 642601 w 661332"/>
                <a:gd name="connsiteY0" fmla="*/ 257771 h 363322"/>
                <a:gd name="connsiteX1" fmla="*/ 587702 w 661332"/>
                <a:gd name="connsiteY1" fmla="*/ 224778 h 363322"/>
                <a:gd name="connsiteX2" fmla="*/ 583053 w 661332"/>
                <a:gd name="connsiteY2" fmla="*/ 211992 h 363322"/>
                <a:gd name="connsiteX3" fmla="*/ 542013 w 661332"/>
                <a:gd name="connsiteY3" fmla="*/ 93611 h 363322"/>
                <a:gd name="connsiteX4" fmla="*/ 509467 w 661332"/>
                <a:gd name="connsiteY4" fmla="*/ 91554 h 363322"/>
                <a:gd name="connsiteX5" fmla="*/ 506338 w 661332"/>
                <a:gd name="connsiteY5" fmla="*/ 122491 h 363322"/>
                <a:gd name="connsiteX6" fmla="*/ 499811 w 661332"/>
                <a:gd name="connsiteY6" fmla="*/ 151997 h 363322"/>
                <a:gd name="connsiteX7" fmla="*/ 479246 w 661332"/>
                <a:gd name="connsiteY7" fmla="*/ 130180 h 363322"/>
                <a:gd name="connsiteX8" fmla="*/ 432841 w 661332"/>
                <a:gd name="connsiteY8" fmla="*/ 95131 h 363322"/>
                <a:gd name="connsiteX9" fmla="*/ 406286 w 661332"/>
                <a:gd name="connsiteY9" fmla="*/ 132505 h 363322"/>
                <a:gd name="connsiteX10" fmla="*/ 394752 w 661332"/>
                <a:gd name="connsiteY10" fmla="*/ 136618 h 363322"/>
                <a:gd name="connsiteX11" fmla="*/ 406197 w 661332"/>
                <a:gd name="connsiteY11" fmla="*/ 125978 h 363322"/>
                <a:gd name="connsiteX12" fmla="*/ 406644 w 661332"/>
                <a:gd name="connsiteY12" fmla="*/ 105234 h 363322"/>
                <a:gd name="connsiteX13" fmla="*/ 374992 w 661332"/>
                <a:gd name="connsiteY13" fmla="*/ 97008 h 363322"/>
                <a:gd name="connsiteX14" fmla="*/ 326978 w 661332"/>
                <a:gd name="connsiteY14" fmla="*/ 110688 h 363322"/>
                <a:gd name="connsiteX15" fmla="*/ 347543 w 661332"/>
                <a:gd name="connsiteY15" fmla="*/ 81987 h 363322"/>
                <a:gd name="connsiteX16" fmla="*/ 308291 w 661332"/>
                <a:gd name="connsiteY16" fmla="*/ 67682 h 363322"/>
                <a:gd name="connsiteX17" fmla="*/ 301496 w 661332"/>
                <a:gd name="connsiteY17" fmla="*/ 71347 h 363322"/>
                <a:gd name="connsiteX18" fmla="*/ 307933 w 661332"/>
                <a:gd name="connsiteY18" fmla="*/ 60082 h 363322"/>
                <a:gd name="connsiteX19" fmla="*/ 266357 w 661332"/>
                <a:gd name="connsiteY19" fmla="*/ 24853 h 363322"/>
                <a:gd name="connsiteX20" fmla="*/ 221920 w 661332"/>
                <a:gd name="connsiteY20" fmla="*/ 24764 h 363322"/>
                <a:gd name="connsiteX21" fmla="*/ 186334 w 661332"/>
                <a:gd name="connsiteY21" fmla="*/ 23065 h 363322"/>
                <a:gd name="connsiteX22" fmla="*/ 54094 w 661332"/>
                <a:gd name="connsiteY22" fmla="*/ 10548 h 363322"/>
                <a:gd name="connsiteX23" fmla="*/ 54720 w 661332"/>
                <a:gd name="connsiteY23" fmla="*/ 14392 h 363322"/>
                <a:gd name="connsiteX24" fmla="*/ 54541 w 661332"/>
                <a:gd name="connsiteY24" fmla="*/ 70990 h 363322"/>
                <a:gd name="connsiteX25" fmla="*/ 32904 w 661332"/>
                <a:gd name="connsiteY25" fmla="*/ 93253 h 363322"/>
                <a:gd name="connsiteX26" fmla="*/ 0 w 661332"/>
                <a:gd name="connsiteY26" fmla="*/ 145201 h 363322"/>
                <a:gd name="connsiteX27" fmla="*/ 39878 w 661332"/>
                <a:gd name="connsiteY27" fmla="*/ 195898 h 363322"/>
                <a:gd name="connsiteX28" fmla="*/ 51769 w 661332"/>
                <a:gd name="connsiteY28" fmla="*/ 206448 h 363322"/>
                <a:gd name="connsiteX29" fmla="*/ 121957 w 661332"/>
                <a:gd name="connsiteY29" fmla="*/ 178284 h 363322"/>
                <a:gd name="connsiteX30" fmla="*/ 203322 w 661332"/>
                <a:gd name="connsiteY30" fmla="*/ 119630 h 363322"/>
                <a:gd name="connsiteX31" fmla="*/ 191162 w 661332"/>
                <a:gd name="connsiteY31" fmla="*/ 147615 h 363322"/>
                <a:gd name="connsiteX32" fmla="*/ 192682 w 661332"/>
                <a:gd name="connsiteY32" fmla="*/ 179982 h 363322"/>
                <a:gd name="connsiteX33" fmla="*/ 203769 w 661332"/>
                <a:gd name="connsiteY33" fmla="*/ 191069 h 363322"/>
                <a:gd name="connsiteX34" fmla="*/ 239534 w 661332"/>
                <a:gd name="connsiteY34" fmla="*/ 192053 h 363322"/>
                <a:gd name="connsiteX35" fmla="*/ 216197 w 661332"/>
                <a:gd name="connsiteY35" fmla="*/ 203140 h 363322"/>
                <a:gd name="connsiteX36" fmla="*/ 215214 w 661332"/>
                <a:gd name="connsiteY36" fmla="*/ 229516 h 363322"/>
                <a:gd name="connsiteX37" fmla="*/ 286117 w 661332"/>
                <a:gd name="connsiteY37" fmla="*/ 236312 h 363322"/>
                <a:gd name="connsiteX38" fmla="*/ 342983 w 661332"/>
                <a:gd name="connsiteY38" fmla="*/ 245163 h 363322"/>
                <a:gd name="connsiteX39" fmla="*/ 267788 w 661332"/>
                <a:gd name="connsiteY39" fmla="*/ 246952 h 363322"/>
                <a:gd name="connsiteX40" fmla="*/ 211101 w 661332"/>
                <a:gd name="connsiteY40" fmla="*/ 273507 h 363322"/>
                <a:gd name="connsiteX41" fmla="*/ 257058 w 661332"/>
                <a:gd name="connsiteY41" fmla="*/ 312133 h 363322"/>
                <a:gd name="connsiteX42" fmla="*/ 287011 w 661332"/>
                <a:gd name="connsiteY42" fmla="*/ 347182 h 363322"/>
                <a:gd name="connsiteX43" fmla="*/ 300244 w 661332"/>
                <a:gd name="connsiteY43" fmla="*/ 362382 h 363322"/>
                <a:gd name="connsiteX44" fmla="*/ 471467 w 661332"/>
                <a:gd name="connsiteY44" fmla="*/ 329121 h 363322"/>
                <a:gd name="connsiteX45" fmla="*/ 533698 w 661332"/>
                <a:gd name="connsiteY45" fmla="*/ 333055 h 363322"/>
                <a:gd name="connsiteX46" fmla="*/ 613363 w 661332"/>
                <a:gd name="connsiteY46" fmla="*/ 320984 h 363322"/>
                <a:gd name="connsiteX47" fmla="*/ 604154 w 661332"/>
                <a:gd name="connsiteY47" fmla="*/ 320806 h 363322"/>
                <a:gd name="connsiteX48" fmla="*/ 586450 w 661332"/>
                <a:gd name="connsiteY48" fmla="*/ 323488 h 363322"/>
                <a:gd name="connsiteX49" fmla="*/ 596912 w 661332"/>
                <a:gd name="connsiteY49" fmla="*/ 302476 h 363322"/>
                <a:gd name="connsiteX50" fmla="*/ 634643 w 661332"/>
                <a:gd name="connsiteY50" fmla="*/ 298632 h 363322"/>
                <a:gd name="connsiteX51" fmla="*/ 661020 w 661332"/>
                <a:gd name="connsiteY51" fmla="*/ 290763 h 363322"/>
                <a:gd name="connsiteX52" fmla="*/ 642601 w 661332"/>
                <a:gd name="connsiteY52" fmla="*/ 257860 h 36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61332" h="363322">
                  <a:moveTo>
                    <a:pt x="642601" y="257771"/>
                  </a:moveTo>
                  <a:cubicBezTo>
                    <a:pt x="617655" y="255982"/>
                    <a:pt x="609519" y="229874"/>
                    <a:pt x="587702" y="224778"/>
                  </a:cubicBezTo>
                  <a:cubicBezTo>
                    <a:pt x="582516" y="223526"/>
                    <a:pt x="580460" y="218698"/>
                    <a:pt x="583053" y="211992"/>
                  </a:cubicBezTo>
                  <a:cubicBezTo>
                    <a:pt x="600130" y="168985"/>
                    <a:pt x="580460" y="112477"/>
                    <a:pt x="542013" y="93611"/>
                  </a:cubicBezTo>
                  <a:cubicBezTo>
                    <a:pt x="531731" y="88514"/>
                    <a:pt x="521180" y="80199"/>
                    <a:pt x="509467" y="91554"/>
                  </a:cubicBezTo>
                  <a:cubicBezTo>
                    <a:pt x="499453" y="101211"/>
                    <a:pt x="499989" y="109973"/>
                    <a:pt x="506338" y="122491"/>
                  </a:cubicBezTo>
                  <a:cubicBezTo>
                    <a:pt x="510540" y="130806"/>
                    <a:pt x="517246" y="146721"/>
                    <a:pt x="499811" y="151997"/>
                  </a:cubicBezTo>
                  <a:cubicBezTo>
                    <a:pt x="481034" y="157630"/>
                    <a:pt x="481481" y="139837"/>
                    <a:pt x="479246" y="130180"/>
                  </a:cubicBezTo>
                  <a:cubicBezTo>
                    <a:pt x="473702" y="106397"/>
                    <a:pt x="459486" y="96293"/>
                    <a:pt x="432841" y="95131"/>
                  </a:cubicBezTo>
                  <a:cubicBezTo>
                    <a:pt x="450634" y="129018"/>
                    <a:pt x="423990" y="127051"/>
                    <a:pt x="406286" y="132505"/>
                  </a:cubicBezTo>
                  <a:cubicBezTo>
                    <a:pt x="402442" y="133757"/>
                    <a:pt x="398507" y="135098"/>
                    <a:pt x="394752" y="136618"/>
                  </a:cubicBezTo>
                  <a:cubicBezTo>
                    <a:pt x="399133" y="133667"/>
                    <a:pt x="403693" y="130895"/>
                    <a:pt x="406197" y="125978"/>
                  </a:cubicBezTo>
                  <a:cubicBezTo>
                    <a:pt x="411114" y="119093"/>
                    <a:pt x="419340" y="111583"/>
                    <a:pt x="406644" y="105234"/>
                  </a:cubicBezTo>
                  <a:cubicBezTo>
                    <a:pt x="396630" y="100227"/>
                    <a:pt x="383754" y="87710"/>
                    <a:pt x="374992" y="97008"/>
                  </a:cubicBezTo>
                  <a:cubicBezTo>
                    <a:pt x="361402" y="111493"/>
                    <a:pt x="346828" y="105324"/>
                    <a:pt x="326978" y="110688"/>
                  </a:cubicBezTo>
                  <a:cubicBezTo>
                    <a:pt x="336813" y="97992"/>
                    <a:pt x="353802" y="94773"/>
                    <a:pt x="347543" y="81987"/>
                  </a:cubicBezTo>
                  <a:cubicBezTo>
                    <a:pt x="339943" y="66251"/>
                    <a:pt x="324385" y="64284"/>
                    <a:pt x="308291" y="67682"/>
                  </a:cubicBezTo>
                  <a:cubicBezTo>
                    <a:pt x="305877" y="68665"/>
                    <a:pt x="303642" y="70006"/>
                    <a:pt x="301496" y="71347"/>
                  </a:cubicBezTo>
                  <a:cubicBezTo>
                    <a:pt x="303999" y="67860"/>
                    <a:pt x="305877" y="63926"/>
                    <a:pt x="307933" y="60082"/>
                  </a:cubicBezTo>
                  <a:cubicBezTo>
                    <a:pt x="294164" y="48190"/>
                    <a:pt x="281289" y="34957"/>
                    <a:pt x="266357" y="24853"/>
                  </a:cubicBezTo>
                  <a:cubicBezTo>
                    <a:pt x="253035" y="15912"/>
                    <a:pt x="237656" y="2232"/>
                    <a:pt x="221920" y="24764"/>
                  </a:cubicBezTo>
                  <a:cubicBezTo>
                    <a:pt x="220847" y="26284"/>
                    <a:pt x="200103" y="33347"/>
                    <a:pt x="186334" y="23065"/>
                  </a:cubicBezTo>
                  <a:cubicBezTo>
                    <a:pt x="145562" y="-7603"/>
                    <a:pt x="99962" y="-3222"/>
                    <a:pt x="54094" y="10548"/>
                  </a:cubicBezTo>
                  <a:cubicBezTo>
                    <a:pt x="55525" y="11620"/>
                    <a:pt x="55703" y="12962"/>
                    <a:pt x="54720" y="14392"/>
                  </a:cubicBezTo>
                  <a:cubicBezTo>
                    <a:pt x="83779" y="37818"/>
                    <a:pt x="83600" y="51409"/>
                    <a:pt x="54541" y="70990"/>
                  </a:cubicBezTo>
                  <a:cubicBezTo>
                    <a:pt x="45779" y="76980"/>
                    <a:pt x="31830" y="81898"/>
                    <a:pt x="32904" y="93253"/>
                  </a:cubicBezTo>
                  <a:cubicBezTo>
                    <a:pt x="35318" y="118825"/>
                    <a:pt x="17703" y="129823"/>
                    <a:pt x="0" y="145201"/>
                  </a:cubicBezTo>
                  <a:cubicBezTo>
                    <a:pt x="24588" y="153874"/>
                    <a:pt x="37195" y="171399"/>
                    <a:pt x="39878" y="195898"/>
                  </a:cubicBezTo>
                  <a:cubicBezTo>
                    <a:pt x="40682" y="203229"/>
                    <a:pt x="43186" y="209399"/>
                    <a:pt x="51769" y="206448"/>
                  </a:cubicBezTo>
                  <a:cubicBezTo>
                    <a:pt x="76089" y="197954"/>
                    <a:pt x="110423" y="195629"/>
                    <a:pt x="121957" y="178284"/>
                  </a:cubicBezTo>
                  <a:cubicBezTo>
                    <a:pt x="143237" y="146364"/>
                    <a:pt x="181505" y="145648"/>
                    <a:pt x="203322" y="119630"/>
                  </a:cubicBezTo>
                  <a:cubicBezTo>
                    <a:pt x="206988" y="132326"/>
                    <a:pt x="205647" y="140284"/>
                    <a:pt x="191162" y="147615"/>
                  </a:cubicBezTo>
                  <a:cubicBezTo>
                    <a:pt x="174710" y="155931"/>
                    <a:pt x="157722" y="170505"/>
                    <a:pt x="192682" y="179982"/>
                  </a:cubicBezTo>
                  <a:cubicBezTo>
                    <a:pt x="197063" y="181145"/>
                    <a:pt x="200103" y="187225"/>
                    <a:pt x="203769" y="191069"/>
                  </a:cubicBezTo>
                  <a:cubicBezTo>
                    <a:pt x="215482" y="199206"/>
                    <a:pt x="227463" y="195093"/>
                    <a:pt x="239534" y="192053"/>
                  </a:cubicBezTo>
                  <a:cubicBezTo>
                    <a:pt x="231844" y="195987"/>
                    <a:pt x="221651" y="194557"/>
                    <a:pt x="216197" y="203140"/>
                  </a:cubicBezTo>
                  <a:cubicBezTo>
                    <a:pt x="196974" y="211276"/>
                    <a:pt x="194470" y="220486"/>
                    <a:pt x="215214" y="229516"/>
                  </a:cubicBezTo>
                  <a:cubicBezTo>
                    <a:pt x="237924" y="239441"/>
                    <a:pt x="262244" y="235865"/>
                    <a:pt x="286117" y="236312"/>
                  </a:cubicBezTo>
                  <a:cubicBezTo>
                    <a:pt x="304089" y="236669"/>
                    <a:pt x="323133" y="232109"/>
                    <a:pt x="342983" y="245163"/>
                  </a:cubicBezTo>
                  <a:cubicBezTo>
                    <a:pt x="315176" y="253300"/>
                    <a:pt x="291392" y="245253"/>
                    <a:pt x="267788" y="246952"/>
                  </a:cubicBezTo>
                  <a:cubicBezTo>
                    <a:pt x="245792" y="248472"/>
                    <a:pt x="216465" y="245700"/>
                    <a:pt x="211101" y="273507"/>
                  </a:cubicBezTo>
                  <a:cubicBezTo>
                    <a:pt x="204842" y="305784"/>
                    <a:pt x="237209" y="304622"/>
                    <a:pt x="257058" y="312133"/>
                  </a:cubicBezTo>
                  <a:cubicBezTo>
                    <a:pt x="273778" y="318481"/>
                    <a:pt x="294790" y="319196"/>
                    <a:pt x="287011" y="347182"/>
                  </a:cubicBezTo>
                  <a:cubicBezTo>
                    <a:pt x="285044" y="354246"/>
                    <a:pt x="290588" y="361756"/>
                    <a:pt x="300244" y="362382"/>
                  </a:cubicBezTo>
                  <a:cubicBezTo>
                    <a:pt x="360239" y="366227"/>
                    <a:pt x="419966" y="358895"/>
                    <a:pt x="471467" y="329121"/>
                  </a:cubicBezTo>
                  <a:cubicBezTo>
                    <a:pt x="498648" y="313385"/>
                    <a:pt x="511792" y="309897"/>
                    <a:pt x="533698" y="333055"/>
                  </a:cubicBezTo>
                  <a:cubicBezTo>
                    <a:pt x="559716" y="360594"/>
                    <a:pt x="600488" y="353083"/>
                    <a:pt x="613363" y="320984"/>
                  </a:cubicBezTo>
                  <a:cubicBezTo>
                    <a:pt x="610055" y="320984"/>
                    <a:pt x="606747" y="321879"/>
                    <a:pt x="604154" y="320806"/>
                  </a:cubicBezTo>
                  <a:cubicBezTo>
                    <a:pt x="597359" y="317944"/>
                    <a:pt x="594229" y="342890"/>
                    <a:pt x="586450" y="323488"/>
                  </a:cubicBezTo>
                  <a:cubicBezTo>
                    <a:pt x="582874" y="314547"/>
                    <a:pt x="581086" y="304443"/>
                    <a:pt x="596912" y="302476"/>
                  </a:cubicBezTo>
                  <a:cubicBezTo>
                    <a:pt x="609519" y="300867"/>
                    <a:pt x="621589" y="298453"/>
                    <a:pt x="634643" y="298632"/>
                  </a:cubicBezTo>
                  <a:cubicBezTo>
                    <a:pt x="643048" y="298810"/>
                    <a:pt x="659321" y="307662"/>
                    <a:pt x="661020" y="290763"/>
                  </a:cubicBezTo>
                  <a:cubicBezTo>
                    <a:pt x="662361" y="277620"/>
                    <a:pt x="659947" y="259112"/>
                    <a:pt x="642601" y="25786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8" name="Freeform: Shape 37">
              <a:extLst>
                <a:ext uri="{FF2B5EF4-FFF2-40B4-BE49-F238E27FC236}">
                  <a16:creationId xmlns:a16="http://schemas.microsoft.com/office/drawing/2014/main" id="{493381DA-6BB2-2038-A43C-8B917BFBFC1D}"/>
                </a:ext>
              </a:extLst>
            </p:cNvPr>
            <p:cNvSpPr/>
            <p:nvPr/>
          </p:nvSpPr>
          <p:spPr>
            <a:xfrm>
              <a:off x="5388050" y="2437200"/>
              <a:ext cx="619362" cy="264907"/>
            </a:xfrm>
            <a:custGeom>
              <a:avLst/>
              <a:gdLst>
                <a:gd name="connsiteX0" fmla="*/ 153857 w 424853"/>
                <a:gd name="connsiteY0" fmla="*/ 53349 h 181713"/>
                <a:gd name="connsiteX1" fmla="*/ 138389 w 424853"/>
                <a:gd name="connsiteY1" fmla="*/ 72841 h 181713"/>
                <a:gd name="connsiteX2" fmla="*/ 163067 w 424853"/>
                <a:gd name="connsiteY2" fmla="*/ 87057 h 181713"/>
                <a:gd name="connsiteX3" fmla="*/ 174333 w 424853"/>
                <a:gd name="connsiteY3" fmla="*/ 90902 h 181713"/>
                <a:gd name="connsiteX4" fmla="*/ 227890 w 424853"/>
                <a:gd name="connsiteY4" fmla="*/ 111288 h 181713"/>
                <a:gd name="connsiteX5" fmla="*/ 372379 w 424853"/>
                <a:gd name="connsiteY5" fmla="*/ 101810 h 181713"/>
                <a:gd name="connsiteX6" fmla="*/ 415386 w 424853"/>
                <a:gd name="connsiteY6" fmla="*/ 127740 h 181713"/>
                <a:gd name="connsiteX7" fmla="*/ 409128 w 424853"/>
                <a:gd name="connsiteY7" fmla="*/ 168780 h 181713"/>
                <a:gd name="connsiteX8" fmla="*/ 327584 w 424853"/>
                <a:gd name="connsiteY8" fmla="*/ 174860 h 181713"/>
                <a:gd name="connsiteX9" fmla="*/ 261330 w 424853"/>
                <a:gd name="connsiteY9" fmla="*/ 169763 h 181713"/>
                <a:gd name="connsiteX10" fmla="*/ 196417 w 424853"/>
                <a:gd name="connsiteY10" fmla="*/ 150003 h 181713"/>
                <a:gd name="connsiteX11" fmla="*/ 177730 w 424853"/>
                <a:gd name="connsiteY11" fmla="*/ 156620 h 181713"/>
                <a:gd name="connsiteX12" fmla="*/ 134724 w 424853"/>
                <a:gd name="connsiteY12" fmla="*/ 156709 h 181713"/>
                <a:gd name="connsiteX13" fmla="*/ 119971 w 424853"/>
                <a:gd name="connsiteY13" fmla="*/ 152328 h 181713"/>
                <a:gd name="connsiteX14" fmla="*/ 85279 w 424853"/>
                <a:gd name="connsiteY14" fmla="*/ 123448 h 181713"/>
                <a:gd name="connsiteX15" fmla="*/ 87872 w 424853"/>
                <a:gd name="connsiteY15" fmla="*/ 98234 h 181713"/>
                <a:gd name="connsiteX16" fmla="*/ 57830 w 424853"/>
                <a:gd name="connsiteY16" fmla="*/ 67566 h 181713"/>
                <a:gd name="connsiteX17" fmla="*/ 1947 w 424853"/>
                <a:gd name="connsiteY17" fmla="*/ 24648 h 181713"/>
                <a:gd name="connsiteX18" fmla="*/ 5703 w 424853"/>
                <a:gd name="connsiteY18" fmla="*/ 10610 h 181713"/>
                <a:gd name="connsiteX19" fmla="*/ 48441 w 424853"/>
                <a:gd name="connsiteY19" fmla="*/ 3636 h 181713"/>
                <a:gd name="connsiteX20" fmla="*/ 87067 w 424853"/>
                <a:gd name="connsiteY20" fmla="*/ 35735 h 181713"/>
                <a:gd name="connsiteX21" fmla="*/ 96992 w 424853"/>
                <a:gd name="connsiteY21" fmla="*/ 34841 h 181713"/>
                <a:gd name="connsiteX22" fmla="*/ 153768 w 424853"/>
                <a:gd name="connsiteY22" fmla="*/ 53349 h 18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4853" h="181713">
                  <a:moveTo>
                    <a:pt x="153857" y="53349"/>
                  </a:moveTo>
                  <a:cubicBezTo>
                    <a:pt x="153321" y="63274"/>
                    <a:pt x="129895" y="59876"/>
                    <a:pt x="138389" y="72841"/>
                  </a:cubicBezTo>
                  <a:cubicBezTo>
                    <a:pt x="141340" y="77311"/>
                    <a:pt x="144201" y="101542"/>
                    <a:pt x="163067" y="87057"/>
                  </a:cubicBezTo>
                  <a:cubicBezTo>
                    <a:pt x="164855" y="85627"/>
                    <a:pt x="172455" y="88130"/>
                    <a:pt x="174333" y="90902"/>
                  </a:cubicBezTo>
                  <a:cubicBezTo>
                    <a:pt x="187387" y="109857"/>
                    <a:pt x="202587" y="109053"/>
                    <a:pt x="227890" y="111288"/>
                  </a:cubicBezTo>
                  <a:cubicBezTo>
                    <a:pt x="277067" y="115669"/>
                    <a:pt x="323471" y="88667"/>
                    <a:pt x="372379" y="101810"/>
                  </a:cubicBezTo>
                  <a:cubicBezTo>
                    <a:pt x="389010" y="106281"/>
                    <a:pt x="402243" y="115580"/>
                    <a:pt x="415386" y="127740"/>
                  </a:cubicBezTo>
                  <a:cubicBezTo>
                    <a:pt x="436577" y="147321"/>
                    <a:pt x="416638" y="167617"/>
                    <a:pt x="409128" y="168780"/>
                  </a:cubicBezTo>
                  <a:cubicBezTo>
                    <a:pt x="382662" y="172982"/>
                    <a:pt x="357001" y="191579"/>
                    <a:pt x="327584" y="174860"/>
                  </a:cubicBezTo>
                  <a:cubicBezTo>
                    <a:pt x="307735" y="163594"/>
                    <a:pt x="283594" y="174860"/>
                    <a:pt x="261330" y="169763"/>
                  </a:cubicBezTo>
                  <a:cubicBezTo>
                    <a:pt x="239335" y="164667"/>
                    <a:pt x="209203" y="189881"/>
                    <a:pt x="196417" y="150003"/>
                  </a:cubicBezTo>
                  <a:cubicBezTo>
                    <a:pt x="194450" y="143834"/>
                    <a:pt x="181575" y="150987"/>
                    <a:pt x="177730" y="156620"/>
                  </a:cubicBezTo>
                  <a:cubicBezTo>
                    <a:pt x="162888" y="178525"/>
                    <a:pt x="148940" y="182638"/>
                    <a:pt x="134724" y="156709"/>
                  </a:cubicBezTo>
                  <a:cubicBezTo>
                    <a:pt x="130879" y="149645"/>
                    <a:pt x="128018" y="149645"/>
                    <a:pt x="119971" y="152328"/>
                  </a:cubicBezTo>
                  <a:cubicBezTo>
                    <a:pt x="94846" y="160732"/>
                    <a:pt x="88766" y="142940"/>
                    <a:pt x="85279" y="123448"/>
                  </a:cubicBezTo>
                  <a:cubicBezTo>
                    <a:pt x="83759" y="114864"/>
                    <a:pt x="88140" y="107175"/>
                    <a:pt x="87872" y="98234"/>
                  </a:cubicBezTo>
                  <a:cubicBezTo>
                    <a:pt x="87246" y="77043"/>
                    <a:pt x="84295" y="65062"/>
                    <a:pt x="57830" y="67566"/>
                  </a:cubicBezTo>
                  <a:cubicBezTo>
                    <a:pt x="28681" y="70248"/>
                    <a:pt x="20008" y="39937"/>
                    <a:pt x="1947" y="24648"/>
                  </a:cubicBezTo>
                  <a:cubicBezTo>
                    <a:pt x="-2166" y="21161"/>
                    <a:pt x="785" y="14098"/>
                    <a:pt x="5703" y="10610"/>
                  </a:cubicBezTo>
                  <a:cubicBezTo>
                    <a:pt x="18935" y="1133"/>
                    <a:pt x="38159" y="-3874"/>
                    <a:pt x="48441" y="3636"/>
                  </a:cubicBezTo>
                  <a:cubicBezTo>
                    <a:pt x="61317" y="13025"/>
                    <a:pt x="86531" y="9180"/>
                    <a:pt x="87067" y="35735"/>
                  </a:cubicBezTo>
                  <a:cubicBezTo>
                    <a:pt x="87246" y="46643"/>
                    <a:pt x="93505" y="36003"/>
                    <a:pt x="96992" y="34841"/>
                  </a:cubicBezTo>
                  <a:cubicBezTo>
                    <a:pt x="120149" y="26883"/>
                    <a:pt x="140803" y="27062"/>
                    <a:pt x="153768" y="533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9" name="Freeform: Shape 38">
              <a:extLst>
                <a:ext uri="{FF2B5EF4-FFF2-40B4-BE49-F238E27FC236}">
                  <a16:creationId xmlns:a16="http://schemas.microsoft.com/office/drawing/2014/main" id="{33D6ABE1-892C-4B7E-9675-2ABA97384C94}"/>
                </a:ext>
              </a:extLst>
            </p:cNvPr>
            <p:cNvSpPr/>
            <p:nvPr/>
          </p:nvSpPr>
          <p:spPr>
            <a:xfrm>
              <a:off x="4555759" y="2433288"/>
              <a:ext cx="474634" cy="221191"/>
            </a:xfrm>
            <a:custGeom>
              <a:avLst/>
              <a:gdLst>
                <a:gd name="connsiteX0" fmla="*/ 107830 w 325577"/>
                <a:gd name="connsiteY0" fmla="*/ 103421 h 151727"/>
                <a:gd name="connsiteX1" fmla="*/ 75821 w 325577"/>
                <a:gd name="connsiteY1" fmla="*/ 94748 h 151727"/>
                <a:gd name="connsiteX2" fmla="*/ 3576 w 325577"/>
                <a:gd name="connsiteY2" fmla="*/ 87505 h 151727"/>
                <a:gd name="connsiteX3" fmla="*/ 0 w 325577"/>
                <a:gd name="connsiteY3" fmla="*/ 79011 h 151727"/>
                <a:gd name="connsiteX4" fmla="*/ 11623 w 325577"/>
                <a:gd name="connsiteY4" fmla="*/ 71501 h 151727"/>
                <a:gd name="connsiteX5" fmla="*/ 51143 w 325577"/>
                <a:gd name="connsiteY5" fmla="*/ 69623 h 151727"/>
                <a:gd name="connsiteX6" fmla="*/ 18866 w 325577"/>
                <a:gd name="connsiteY6" fmla="*/ 55317 h 151727"/>
                <a:gd name="connsiteX7" fmla="*/ 46583 w 325577"/>
                <a:gd name="connsiteY7" fmla="*/ 28762 h 151727"/>
                <a:gd name="connsiteX8" fmla="*/ 149943 w 325577"/>
                <a:gd name="connsiteY8" fmla="*/ 52546 h 151727"/>
                <a:gd name="connsiteX9" fmla="*/ 226390 w 325577"/>
                <a:gd name="connsiteY9" fmla="*/ 74809 h 151727"/>
                <a:gd name="connsiteX10" fmla="*/ 202517 w 325577"/>
                <a:gd name="connsiteY10" fmla="*/ 25186 h 151727"/>
                <a:gd name="connsiteX11" fmla="*/ 214051 w 325577"/>
                <a:gd name="connsiteY11" fmla="*/ 17943 h 151727"/>
                <a:gd name="connsiteX12" fmla="*/ 264032 w 325577"/>
                <a:gd name="connsiteY12" fmla="*/ 44409 h 151727"/>
                <a:gd name="connsiteX13" fmla="*/ 273242 w 325577"/>
                <a:gd name="connsiteY13" fmla="*/ 65421 h 151727"/>
                <a:gd name="connsiteX14" fmla="*/ 290409 w 325577"/>
                <a:gd name="connsiteY14" fmla="*/ 56390 h 151727"/>
                <a:gd name="connsiteX15" fmla="*/ 312940 w 325577"/>
                <a:gd name="connsiteY15" fmla="*/ 51294 h 151727"/>
                <a:gd name="connsiteX16" fmla="*/ 325547 w 325577"/>
                <a:gd name="connsiteY16" fmla="*/ 71233 h 151727"/>
                <a:gd name="connsiteX17" fmla="*/ 274046 w 325577"/>
                <a:gd name="connsiteY17" fmla="*/ 118263 h 151727"/>
                <a:gd name="connsiteX18" fmla="*/ 176498 w 325577"/>
                <a:gd name="connsiteY18" fmla="*/ 138917 h 151727"/>
                <a:gd name="connsiteX19" fmla="*/ 101035 w 325577"/>
                <a:gd name="connsiteY19" fmla="*/ 146249 h 151727"/>
                <a:gd name="connsiteX20" fmla="*/ 94776 w 325577"/>
                <a:gd name="connsiteY20" fmla="*/ 115759 h 151727"/>
                <a:gd name="connsiteX21" fmla="*/ 107830 w 325577"/>
                <a:gd name="connsiteY21" fmla="*/ 103421 h 15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5577" h="151727">
                  <a:moveTo>
                    <a:pt x="107830" y="103421"/>
                  </a:moveTo>
                  <a:cubicBezTo>
                    <a:pt x="98442" y="96089"/>
                    <a:pt x="93346" y="89562"/>
                    <a:pt x="75821" y="94748"/>
                  </a:cubicBezTo>
                  <a:cubicBezTo>
                    <a:pt x="54273" y="101185"/>
                    <a:pt x="27807" y="91082"/>
                    <a:pt x="3576" y="87505"/>
                  </a:cubicBezTo>
                  <a:cubicBezTo>
                    <a:pt x="1967" y="87237"/>
                    <a:pt x="0" y="81962"/>
                    <a:pt x="0" y="79011"/>
                  </a:cubicBezTo>
                  <a:cubicBezTo>
                    <a:pt x="0" y="71322"/>
                    <a:pt x="6348" y="71769"/>
                    <a:pt x="11623" y="71501"/>
                  </a:cubicBezTo>
                  <a:cubicBezTo>
                    <a:pt x="23873" y="70785"/>
                    <a:pt x="36122" y="70338"/>
                    <a:pt x="51143" y="69623"/>
                  </a:cubicBezTo>
                  <a:cubicBezTo>
                    <a:pt x="41219" y="54513"/>
                    <a:pt x="27986" y="62291"/>
                    <a:pt x="18866" y="55317"/>
                  </a:cubicBezTo>
                  <a:cubicBezTo>
                    <a:pt x="27986" y="46376"/>
                    <a:pt x="35765" y="34753"/>
                    <a:pt x="46583" y="28762"/>
                  </a:cubicBezTo>
                  <a:cubicBezTo>
                    <a:pt x="86908" y="6677"/>
                    <a:pt x="120080" y="15082"/>
                    <a:pt x="149943" y="52546"/>
                  </a:cubicBezTo>
                  <a:cubicBezTo>
                    <a:pt x="164312" y="70607"/>
                    <a:pt x="189794" y="78028"/>
                    <a:pt x="226390" y="74809"/>
                  </a:cubicBezTo>
                  <a:cubicBezTo>
                    <a:pt x="214945" y="58715"/>
                    <a:pt x="236225" y="33233"/>
                    <a:pt x="202517" y="25186"/>
                  </a:cubicBezTo>
                  <a:cubicBezTo>
                    <a:pt x="209044" y="21073"/>
                    <a:pt x="211458" y="19463"/>
                    <a:pt x="214051" y="17943"/>
                  </a:cubicBezTo>
                  <a:cubicBezTo>
                    <a:pt x="260724" y="-9327"/>
                    <a:pt x="260277" y="-9238"/>
                    <a:pt x="264032" y="44409"/>
                  </a:cubicBezTo>
                  <a:cubicBezTo>
                    <a:pt x="264479" y="50847"/>
                    <a:pt x="259562" y="62291"/>
                    <a:pt x="273242" y="65421"/>
                  </a:cubicBezTo>
                  <a:cubicBezTo>
                    <a:pt x="282898" y="67656"/>
                    <a:pt x="286922" y="64437"/>
                    <a:pt x="290409" y="56390"/>
                  </a:cubicBezTo>
                  <a:cubicBezTo>
                    <a:pt x="295326" y="45035"/>
                    <a:pt x="304714" y="49774"/>
                    <a:pt x="312940" y="51294"/>
                  </a:cubicBezTo>
                  <a:cubicBezTo>
                    <a:pt x="324117" y="53350"/>
                    <a:pt x="325190" y="62381"/>
                    <a:pt x="325547" y="71233"/>
                  </a:cubicBezTo>
                  <a:cubicBezTo>
                    <a:pt x="326620" y="95910"/>
                    <a:pt x="298813" y="119872"/>
                    <a:pt x="274046" y="118263"/>
                  </a:cubicBezTo>
                  <a:cubicBezTo>
                    <a:pt x="239981" y="116028"/>
                    <a:pt x="206898" y="112004"/>
                    <a:pt x="176498" y="138917"/>
                  </a:cubicBezTo>
                  <a:cubicBezTo>
                    <a:pt x="156738" y="156442"/>
                    <a:pt x="126338" y="152955"/>
                    <a:pt x="101035" y="146249"/>
                  </a:cubicBezTo>
                  <a:cubicBezTo>
                    <a:pt x="88964" y="143030"/>
                    <a:pt x="69115" y="131585"/>
                    <a:pt x="94776" y="115759"/>
                  </a:cubicBezTo>
                  <a:cubicBezTo>
                    <a:pt x="111586" y="107981"/>
                    <a:pt x="120259" y="112362"/>
                    <a:pt x="107830" y="10342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0" name="Freeform: Shape 39">
              <a:extLst>
                <a:ext uri="{FF2B5EF4-FFF2-40B4-BE49-F238E27FC236}">
                  <a16:creationId xmlns:a16="http://schemas.microsoft.com/office/drawing/2014/main" id="{64F273A5-A835-A43F-3021-9ABDFCAF6FE8}"/>
                </a:ext>
              </a:extLst>
            </p:cNvPr>
            <p:cNvSpPr/>
            <p:nvPr/>
          </p:nvSpPr>
          <p:spPr>
            <a:xfrm>
              <a:off x="5494350" y="2089201"/>
              <a:ext cx="363343" cy="255999"/>
            </a:xfrm>
            <a:custGeom>
              <a:avLst/>
              <a:gdLst>
                <a:gd name="connsiteX0" fmla="*/ 203 w 249236"/>
                <a:gd name="connsiteY0" fmla="*/ 85074 h 175603"/>
                <a:gd name="connsiteX1" fmla="*/ 27473 w 249236"/>
                <a:gd name="connsiteY1" fmla="*/ 52796 h 175603"/>
                <a:gd name="connsiteX2" fmla="*/ 48306 w 249236"/>
                <a:gd name="connsiteY2" fmla="*/ 52617 h 175603"/>
                <a:gd name="connsiteX3" fmla="*/ 45445 w 249236"/>
                <a:gd name="connsiteY3" fmla="*/ 19982 h 175603"/>
                <a:gd name="connsiteX4" fmla="*/ 106334 w 249236"/>
                <a:gd name="connsiteY4" fmla="*/ 6034 h 175603"/>
                <a:gd name="connsiteX5" fmla="*/ 165972 w 249236"/>
                <a:gd name="connsiteY5" fmla="*/ 58608 h 175603"/>
                <a:gd name="connsiteX6" fmla="*/ 196908 w 249236"/>
                <a:gd name="connsiteY6" fmla="*/ 66029 h 175603"/>
                <a:gd name="connsiteX7" fmla="*/ 222838 w 249236"/>
                <a:gd name="connsiteY7" fmla="*/ 92763 h 175603"/>
                <a:gd name="connsiteX8" fmla="*/ 239468 w 249236"/>
                <a:gd name="connsiteY8" fmla="*/ 110645 h 175603"/>
                <a:gd name="connsiteX9" fmla="*/ 249124 w 249236"/>
                <a:gd name="connsiteY9" fmla="*/ 115563 h 175603"/>
                <a:gd name="connsiteX10" fmla="*/ 242150 w 249236"/>
                <a:gd name="connsiteY10" fmla="*/ 128528 h 175603"/>
                <a:gd name="connsiteX11" fmla="*/ 187967 w 249236"/>
                <a:gd name="connsiteY11" fmla="*/ 147304 h 175603"/>
                <a:gd name="connsiteX12" fmla="*/ 163736 w 249236"/>
                <a:gd name="connsiteY12" fmla="*/ 162057 h 175603"/>
                <a:gd name="connsiteX13" fmla="*/ 117600 w 249236"/>
                <a:gd name="connsiteY13" fmla="*/ 172429 h 175603"/>
                <a:gd name="connsiteX14" fmla="*/ 42852 w 249236"/>
                <a:gd name="connsiteY14" fmla="*/ 135859 h 175603"/>
                <a:gd name="connsiteX15" fmla="*/ 52151 w 249236"/>
                <a:gd name="connsiteY15" fmla="*/ 115563 h 175603"/>
                <a:gd name="connsiteX16" fmla="*/ 100522 w 249236"/>
                <a:gd name="connsiteY16" fmla="*/ 113417 h 175603"/>
                <a:gd name="connsiteX17" fmla="*/ 52330 w 249236"/>
                <a:gd name="connsiteY17" fmla="*/ 111271 h 175603"/>
                <a:gd name="connsiteX18" fmla="*/ 1633 w 249236"/>
                <a:gd name="connsiteY18" fmla="*/ 99022 h 175603"/>
                <a:gd name="connsiteX19" fmla="*/ 20410 w 249236"/>
                <a:gd name="connsiteY19" fmla="*/ 83643 h 175603"/>
                <a:gd name="connsiteX20" fmla="*/ 203 w 249236"/>
                <a:gd name="connsiteY20" fmla="*/ 85074 h 175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9236" h="175603">
                  <a:moveTo>
                    <a:pt x="203" y="85074"/>
                  </a:moveTo>
                  <a:cubicBezTo>
                    <a:pt x="-2033" y="74434"/>
                    <a:pt x="14687" y="54227"/>
                    <a:pt x="27473" y="52796"/>
                  </a:cubicBezTo>
                  <a:cubicBezTo>
                    <a:pt x="34894" y="51991"/>
                    <a:pt x="42405" y="52617"/>
                    <a:pt x="48306" y="52617"/>
                  </a:cubicBezTo>
                  <a:cubicBezTo>
                    <a:pt x="60198" y="38401"/>
                    <a:pt x="25327" y="32053"/>
                    <a:pt x="45445" y="19982"/>
                  </a:cubicBezTo>
                  <a:cubicBezTo>
                    <a:pt x="63685" y="9074"/>
                    <a:pt x="79690" y="-9703"/>
                    <a:pt x="106334" y="6034"/>
                  </a:cubicBezTo>
                  <a:cubicBezTo>
                    <a:pt x="130028" y="19982"/>
                    <a:pt x="137986" y="50293"/>
                    <a:pt x="165972" y="58608"/>
                  </a:cubicBezTo>
                  <a:cubicBezTo>
                    <a:pt x="175897" y="61558"/>
                    <a:pt x="180546" y="74434"/>
                    <a:pt x="196908" y="66029"/>
                  </a:cubicBezTo>
                  <a:cubicBezTo>
                    <a:pt x="206028" y="61290"/>
                    <a:pt x="226146" y="84805"/>
                    <a:pt x="222838" y="92763"/>
                  </a:cubicBezTo>
                  <a:cubicBezTo>
                    <a:pt x="212645" y="117441"/>
                    <a:pt x="221228" y="116278"/>
                    <a:pt x="239468" y="110645"/>
                  </a:cubicBezTo>
                  <a:cubicBezTo>
                    <a:pt x="243849" y="109304"/>
                    <a:pt x="248588" y="109930"/>
                    <a:pt x="249124" y="115563"/>
                  </a:cubicBezTo>
                  <a:cubicBezTo>
                    <a:pt x="249661" y="121107"/>
                    <a:pt x="248409" y="127902"/>
                    <a:pt x="242150" y="128528"/>
                  </a:cubicBezTo>
                  <a:cubicBezTo>
                    <a:pt x="222659" y="130674"/>
                    <a:pt x="209157" y="148914"/>
                    <a:pt x="187967" y="147304"/>
                  </a:cubicBezTo>
                  <a:cubicBezTo>
                    <a:pt x="178132" y="146589"/>
                    <a:pt x="169191" y="144890"/>
                    <a:pt x="163736" y="162057"/>
                  </a:cubicBezTo>
                  <a:cubicBezTo>
                    <a:pt x="158193" y="179582"/>
                    <a:pt x="131548" y="176542"/>
                    <a:pt x="117600" y="172429"/>
                  </a:cubicBezTo>
                  <a:cubicBezTo>
                    <a:pt x="91313" y="164650"/>
                    <a:pt x="65741" y="151328"/>
                    <a:pt x="42852" y="135859"/>
                  </a:cubicBezTo>
                  <a:cubicBezTo>
                    <a:pt x="26490" y="124862"/>
                    <a:pt x="45713" y="121107"/>
                    <a:pt x="52151" y="115563"/>
                  </a:cubicBezTo>
                  <a:cubicBezTo>
                    <a:pt x="67440" y="110377"/>
                    <a:pt x="83087" y="108589"/>
                    <a:pt x="100522" y="113417"/>
                  </a:cubicBezTo>
                  <a:cubicBezTo>
                    <a:pt x="83534" y="93925"/>
                    <a:pt x="67977" y="120660"/>
                    <a:pt x="52330" y="111271"/>
                  </a:cubicBezTo>
                  <a:cubicBezTo>
                    <a:pt x="38560" y="94462"/>
                    <a:pt x="15671" y="114937"/>
                    <a:pt x="1633" y="99022"/>
                  </a:cubicBezTo>
                  <a:cubicBezTo>
                    <a:pt x="1991" y="87309"/>
                    <a:pt x="14419" y="89991"/>
                    <a:pt x="20410" y="83643"/>
                  </a:cubicBezTo>
                  <a:cubicBezTo>
                    <a:pt x="13346" y="89544"/>
                    <a:pt x="6819" y="88382"/>
                    <a:pt x="203" y="8507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1" name="Freeform: Shape 40">
              <a:extLst>
                <a:ext uri="{FF2B5EF4-FFF2-40B4-BE49-F238E27FC236}">
                  <a16:creationId xmlns:a16="http://schemas.microsoft.com/office/drawing/2014/main" id="{BAEEC4AA-3D2A-014E-1248-A43CA2AF797C}"/>
                </a:ext>
              </a:extLst>
            </p:cNvPr>
            <p:cNvSpPr/>
            <p:nvPr/>
          </p:nvSpPr>
          <p:spPr>
            <a:xfrm>
              <a:off x="6437469" y="4396617"/>
              <a:ext cx="255448" cy="274415"/>
            </a:xfrm>
            <a:custGeom>
              <a:avLst/>
              <a:gdLst>
                <a:gd name="connsiteX0" fmla="*/ 80451 w 175226"/>
                <a:gd name="connsiteY0" fmla="*/ 12722 h 188236"/>
                <a:gd name="connsiteX1" fmla="*/ 112013 w 175226"/>
                <a:gd name="connsiteY1" fmla="*/ 383 h 188236"/>
                <a:gd name="connsiteX2" fmla="*/ 86084 w 175226"/>
                <a:gd name="connsiteY2" fmla="*/ 57785 h 188236"/>
                <a:gd name="connsiteX3" fmla="*/ 98780 w 175226"/>
                <a:gd name="connsiteY3" fmla="*/ 86040 h 188236"/>
                <a:gd name="connsiteX4" fmla="*/ 150818 w 175226"/>
                <a:gd name="connsiteY4" fmla="*/ 102134 h 188236"/>
                <a:gd name="connsiteX5" fmla="*/ 174512 w 175226"/>
                <a:gd name="connsiteY5" fmla="*/ 145766 h 188236"/>
                <a:gd name="connsiteX6" fmla="*/ 163514 w 175226"/>
                <a:gd name="connsiteY6" fmla="*/ 180101 h 188236"/>
                <a:gd name="connsiteX7" fmla="*/ 134903 w 175226"/>
                <a:gd name="connsiteY7" fmla="*/ 188237 h 188236"/>
                <a:gd name="connsiteX8" fmla="*/ 112371 w 175226"/>
                <a:gd name="connsiteY8" fmla="*/ 175988 h 188236"/>
                <a:gd name="connsiteX9" fmla="*/ 105754 w 175226"/>
                <a:gd name="connsiteY9" fmla="*/ 176971 h 188236"/>
                <a:gd name="connsiteX10" fmla="*/ 80361 w 175226"/>
                <a:gd name="connsiteY10" fmla="*/ 169282 h 188236"/>
                <a:gd name="connsiteX11" fmla="*/ 14286 w 175226"/>
                <a:gd name="connsiteY11" fmla="*/ 163470 h 188236"/>
                <a:gd name="connsiteX12" fmla="*/ 18578 w 175226"/>
                <a:gd name="connsiteY12" fmla="*/ 115277 h 188236"/>
                <a:gd name="connsiteX13" fmla="*/ 54164 w 175226"/>
                <a:gd name="connsiteY13" fmla="*/ 59753 h 188236"/>
                <a:gd name="connsiteX14" fmla="*/ 71510 w 175226"/>
                <a:gd name="connsiteY14" fmla="*/ 38562 h 188236"/>
                <a:gd name="connsiteX15" fmla="*/ 80540 w 175226"/>
                <a:gd name="connsiteY15" fmla="*/ 12811 h 1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5226" h="188236">
                  <a:moveTo>
                    <a:pt x="80451" y="12722"/>
                  </a:moveTo>
                  <a:cubicBezTo>
                    <a:pt x="89750" y="5480"/>
                    <a:pt x="99048" y="-1763"/>
                    <a:pt x="112013" y="383"/>
                  </a:cubicBezTo>
                  <a:cubicBezTo>
                    <a:pt x="111656" y="23273"/>
                    <a:pt x="90823" y="36953"/>
                    <a:pt x="86084" y="57785"/>
                  </a:cubicBezTo>
                  <a:cubicBezTo>
                    <a:pt x="74997" y="74058"/>
                    <a:pt x="98780" y="74684"/>
                    <a:pt x="98780" y="86040"/>
                  </a:cubicBezTo>
                  <a:cubicBezTo>
                    <a:pt x="111477" y="106425"/>
                    <a:pt x="137048" y="85235"/>
                    <a:pt x="150818" y="102134"/>
                  </a:cubicBezTo>
                  <a:cubicBezTo>
                    <a:pt x="148761" y="122072"/>
                    <a:pt x="161637" y="133875"/>
                    <a:pt x="174512" y="145766"/>
                  </a:cubicBezTo>
                  <a:cubicBezTo>
                    <a:pt x="176479" y="159089"/>
                    <a:pt x="174870" y="171159"/>
                    <a:pt x="163514" y="180101"/>
                  </a:cubicBezTo>
                  <a:cubicBezTo>
                    <a:pt x="156987" y="193423"/>
                    <a:pt x="143933" y="183677"/>
                    <a:pt x="134903" y="188237"/>
                  </a:cubicBezTo>
                  <a:cubicBezTo>
                    <a:pt x="129270" y="180726"/>
                    <a:pt x="118987" y="181710"/>
                    <a:pt x="112371" y="175988"/>
                  </a:cubicBezTo>
                  <a:lnTo>
                    <a:pt x="105754" y="176971"/>
                  </a:lnTo>
                  <a:cubicBezTo>
                    <a:pt x="95383" y="180637"/>
                    <a:pt x="85905" y="181531"/>
                    <a:pt x="80361" y="169282"/>
                  </a:cubicBezTo>
                  <a:cubicBezTo>
                    <a:pt x="60423" y="143084"/>
                    <a:pt x="37176" y="155423"/>
                    <a:pt x="14286" y="163470"/>
                  </a:cubicBezTo>
                  <a:cubicBezTo>
                    <a:pt x="-15488" y="145141"/>
                    <a:pt x="9011" y="126722"/>
                    <a:pt x="18578" y="115277"/>
                  </a:cubicBezTo>
                  <a:cubicBezTo>
                    <a:pt x="33152" y="97931"/>
                    <a:pt x="42809" y="78529"/>
                    <a:pt x="54164" y="59753"/>
                  </a:cubicBezTo>
                  <a:cubicBezTo>
                    <a:pt x="56399" y="49828"/>
                    <a:pt x="61943" y="42586"/>
                    <a:pt x="71510" y="38562"/>
                  </a:cubicBezTo>
                  <a:cubicBezTo>
                    <a:pt x="70437" y="28548"/>
                    <a:pt x="85190" y="24077"/>
                    <a:pt x="80540" y="1281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2" name="Freeform: Shape 41">
              <a:extLst>
                <a:ext uri="{FF2B5EF4-FFF2-40B4-BE49-F238E27FC236}">
                  <a16:creationId xmlns:a16="http://schemas.microsoft.com/office/drawing/2014/main" id="{EA5B636E-DFE3-23A1-2B97-2EA939CA4B65}"/>
                </a:ext>
              </a:extLst>
            </p:cNvPr>
            <p:cNvSpPr/>
            <p:nvPr/>
          </p:nvSpPr>
          <p:spPr>
            <a:xfrm>
              <a:off x="4345029" y="2346815"/>
              <a:ext cx="349350" cy="151718"/>
            </a:xfrm>
            <a:custGeom>
              <a:avLst/>
              <a:gdLst>
                <a:gd name="connsiteX0" fmla="*/ 134806 w 239638"/>
                <a:gd name="connsiteY0" fmla="*/ 10022 h 104071"/>
                <a:gd name="connsiteX1" fmla="*/ 203475 w 239638"/>
                <a:gd name="connsiteY1" fmla="*/ 1707 h 104071"/>
                <a:gd name="connsiteX2" fmla="*/ 238703 w 239638"/>
                <a:gd name="connsiteY2" fmla="*/ 9844 h 104071"/>
                <a:gd name="connsiteX3" fmla="*/ 217512 w 239638"/>
                <a:gd name="connsiteY3" fmla="*/ 33180 h 104071"/>
                <a:gd name="connsiteX4" fmla="*/ 188275 w 239638"/>
                <a:gd name="connsiteY4" fmla="*/ 64474 h 104071"/>
                <a:gd name="connsiteX5" fmla="*/ 156444 w 239638"/>
                <a:gd name="connsiteY5" fmla="*/ 78780 h 104071"/>
                <a:gd name="connsiteX6" fmla="*/ 155103 w 239638"/>
                <a:gd name="connsiteY6" fmla="*/ 55712 h 104071"/>
                <a:gd name="connsiteX7" fmla="*/ 150811 w 239638"/>
                <a:gd name="connsiteY7" fmla="*/ 44535 h 104071"/>
                <a:gd name="connsiteX8" fmla="*/ 139635 w 239638"/>
                <a:gd name="connsiteY8" fmla="*/ 49989 h 104071"/>
                <a:gd name="connsiteX9" fmla="*/ 121484 w 239638"/>
                <a:gd name="connsiteY9" fmla="*/ 74935 h 104071"/>
                <a:gd name="connsiteX10" fmla="*/ 48435 w 239638"/>
                <a:gd name="connsiteY10" fmla="*/ 98987 h 104071"/>
                <a:gd name="connsiteX11" fmla="*/ 20270 w 239638"/>
                <a:gd name="connsiteY11" fmla="*/ 103636 h 104071"/>
                <a:gd name="connsiteX12" fmla="*/ 331 w 239638"/>
                <a:gd name="connsiteY12" fmla="*/ 89778 h 104071"/>
                <a:gd name="connsiteX13" fmla="*/ 12491 w 239638"/>
                <a:gd name="connsiteY13" fmla="*/ 64564 h 104071"/>
                <a:gd name="connsiteX14" fmla="*/ 113258 w 239638"/>
                <a:gd name="connsiteY14" fmla="*/ 19232 h 104071"/>
                <a:gd name="connsiteX15" fmla="*/ 134806 w 239638"/>
                <a:gd name="connsiteY15" fmla="*/ 10112 h 10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9638" h="104071">
                  <a:moveTo>
                    <a:pt x="134806" y="10022"/>
                  </a:moveTo>
                  <a:cubicBezTo>
                    <a:pt x="159216" y="29872"/>
                    <a:pt x="180138" y="5284"/>
                    <a:pt x="203475" y="1707"/>
                  </a:cubicBezTo>
                  <a:cubicBezTo>
                    <a:pt x="216797" y="-349"/>
                    <a:pt x="233606" y="-2942"/>
                    <a:pt x="238703" y="9844"/>
                  </a:cubicBezTo>
                  <a:cubicBezTo>
                    <a:pt x="243620" y="22451"/>
                    <a:pt x="228063" y="26832"/>
                    <a:pt x="217512" y="33180"/>
                  </a:cubicBezTo>
                  <a:cubicBezTo>
                    <a:pt x="205620" y="40244"/>
                    <a:pt x="195338" y="52314"/>
                    <a:pt x="188275" y="64474"/>
                  </a:cubicBezTo>
                  <a:cubicBezTo>
                    <a:pt x="180227" y="78243"/>
                    <a:pt x="170482" y="83429"/>
                    <a:pt x="156444" y="78780"/>
                  </a:cubicBezTo>
                  <a:cubicBezTo>
                    <a:pt x="138562" y="72789"/>
                    <a:pt x="155908" y="63401"/>
                    <a:pt x="155103" y="55712"/>
                  </a:cubicBezTo>
                  <a:cubicBezTo>
                    <a:pt x="154656" y="51867"/>
                    <a:pt x="152242" y="48291"/>
                    <a:pt x="150811" y="44535"/>
                  </a:cubicBezTo>
                  <a:cubicBezTo>
                    <a:pt x="147056" y="46324"/>
                    <a:pt x="142138" y="47128"/>
                    <a:pt x="139635" y="49989"/>
                  </a:cubicBezTo>
                  <a:cubicBezTo>
                    <a:pt x="132839" y="57947"/>
                    <a:pt x="124435" y="68676"/>
                    <a:pt x="121484" y="74935"/>
                  </a:cubicBezTo>
                  <a:cubicBezTo>
                    <a:pt x="104317" y="111683"/>
                    <a:pt x="77494" y="104262"/>
                    <a:pt x="48435" y="98987"/>
                  </a:cubicBezTo>
                  <a:cubicBezTo>
                    <a:pt x="39583" y="97378"/>
                    <a:pt x="29748" y="102563"/>
                    <a:pt x="20270" y="103636"/>
                  </a:cubicBezTo>
                  <a:cubicBezTo>
                    <a:pt x="10167" y="104709"/>
                    <a:pt x="510" y="104978"/>
                    <a:pt x="331" y="89778"/>
                  </a:cubicBezTo>
                  <a:cubicBezTo>
                    <a:pt x="331" y="78780"/>
                    <a:pt x="-3156" y="68140"/>
                    <a:pt x="12491" y="64564"/>
                  </a:cubicBezTo>
                  <a:cubicBezTo>
                    <a:pt x="48971" y="56159"/>
                    <a:pt x="87418" y="52135"/>
                    <a:pt x="113258" y="19232"/>
                  </a:cubicBezTo>
                  <a:cubicBezTo>
                    <a:pt x="117461" y="13957"/>
                    <a:pt x="124703" y="9039"/>
                    <a:pt x="134806" y="101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3" name="Freeform: Shape 42">
              <a:extLst>
                <a:ext uri="{FF2B5EF4-FFF2-40B4-BE49-F238E27FC236}">
                  <a16:creationId xmlns:a16="http://schemas.microsoft.com/office/drawing/2014/main" id="{550F4D28-92F0-46E7-062A-1A6D014B3F68}"/>
                </a:ext>
              </a:extLst>
            </p:cNvPr>
            <p:cNvSpPr/>
            <p:nvPr/>
          </p:nvSpPr>
          <p:spPr>
            <a:xfrm>
              <a:off x="5537790" y="3394204"/>
              <a:ext cx="261924" cy="199641"/>
            </a:xfrm>
            <a:custGeom>
              <a:avLst/>
              <a:gdLst>
                <a:gd name="connsiteX0" fmla="*/ 178913 w 179668"/>
                <a:gd name="connsiteY0" fmla="*/ 116742 h 136944"/>
                <a:gd name="connsiteX1" fmla="*/ 113732 w 179668"/>
                <a:gd name="connsiteY1" fmla="*/ 95014 h 136944"/>
                <a:gd name="connsiteX2" fmla="*/ 83153 w 179668"/>
                <a:gd name="connsiteY2" fmla="*/ 103509 h 136944"/>
                <a:gd name="connsiteX3" fmla="*/ 30937 w 179668"/>
                <a:gd name="connsiteY3" fmla="*/ 135876 h 136944"/>
                <a:gd name="connsiteX4" fmla="*/ 31205 w 179668"/>
                <a:gd name="connsiteY4" fmla="*/ 136412 h 136944"/>
                <a:gd name="connsiteX5" fmla="*/ 0 w 179668"/>
                <a:gd name="connsiteY5" fmla="*/ 105833 h 136944"/>
                <a:gd name="connsiteX6" fmla="*/ 36480 w 179668"/>
                <a:gd name="connsiteY6" fmla="*/ 24022 h 136944"/>
                <a:gd name="connsiteX7" fmla="*/ 55793 w 179668"/>
                <a:gd name="connsiteY7" fmla="*/ 1401 h 136944"/>
                <a:gd name="connsiteX8" fmla="*/ 66075 w 179668"/>
                <a:gd name="connsiteY8" fmla="*/ 16064 h 136944"/>
                <a:gd name="connsiteX9" fmla="*/ 119186 w 179668"/>
                <a:gd name="connsiteY9" fmla="*/ 43513 h 136944"/>
                <a:gd name="connsiteX10" fmla="*/ 147440 w 179668"/>
                <a:gd name="connsiteY10" fmla="*/ 71768 h 136944"/>
                <a:gd name="connsiteX11" fmla="*/ 169882 w 179668"/>
                <a:gd name="connsiteY11" fmla="*/ 93942 h 136944"/>
                <a:gd name="connsiteX12" fmla="*/ 178734 w 179668"/>
                <a:gd name="connsiteY12" fmla="*/ 117099 h 136944"/>
                <a:gd name="connsiteX13" fmla="*/ 178734 w 179668"/>
                <a:gd name="connsiteY13" fmla="*/ 116831 h 136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668" h="136944">
                  <a:moveTo>
                    <a:pt x="178913" y="116742"/>
                  </a:moveTo>
                  <a:cubicBezTo>
                    <a:pt x="154771" y="117099"/>
                    <a:pt x="131435" y="119513"/>
                    <a:pt x="113732" y="95014"/>
                  </a:cubicBezTo>
                  <a:cubicBezTo>
                    <a:pt x="104433" y="82139"/>
                    <a:pt x="88786" y="83749"/>
                    <a:pt x="83153" y="103509"/>
                  </a:cubicBezTo>
                  <a:cubicBezTo>
                    <a:pt x="75553" y="130064"/>
                    <a:pt x="57939" y="140525"/>
                    <a:pt x="30937" y="135876"/>
                  </a:cubicBezTo>
                  <a:lnTo>
                    <a:pt x="31205" y="136412"/>
                  </a:lnTo>
                  <a:cubicBezTo>
                    <a:pt x="47031" y="104045"/>
                    <a:pt x="15647" y="113612"/>
                    <a:pt x="0" y="105833"/>
                  </a:cubicBezTo>
                  <a:cubicBezTo>
                    <a:pt x="26198" y="83212"/>
                    <a:pt x="28970" y="52097"/>
                    <a:pt x="36480" y="24022"/>
                  </a:cubicBezTo>
                  <a:cubicBezTo>
                    <a:pt x="39967" y="10878"/>
                    <a:pt x="48014" y="4530"/>
                    <a:pt x="55793" y="1401"/>
                  </a:cubicBezTo>
                  <a:cubicBezTo>
                    <a:pt x="71976" y="-5126"/>
                    <a:pt x="61247" y="13114"/>
                    <a:pt x="66075" y="16064"/>
                  </a:cubicBezTo>
                  <a:cubicBezTo>
                    <a:pt x="83242" y="26615"/>
                    <a:pt x="100767" y="41725"/>
                    <a:pt x="119186" y="43513"/>
                  </a:cubicBezTo>
                  <a:cubicBezTo>
                    <a:pt x="140913" y="45570"/>
                    <a:pt x="145652" y="52991"/>
                    <a:pt x="147440" y="71768"/>
                  </a:cubicBezTo>
                  <a:cubicBezTo>
                    <a:pt x="148513" y="82586"/>
                    <a:pt x="149586" y="96356"/>
                    <a:pt x="169882" y="93942"/>
                  </a:cubicBezTo>
                  <a:cubicBezTo>
                    <a:pt x="182400" y="92511"/>
                    <a:pt x="179717" y="107532"/>
                    <a:pt x="178734" y="117099"/>
                  </a:cubicBezTo>
                  <a:lnTo>
                    <a:pt x="178734" y="116831"/>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4" name="Freeform: Shape 43">
              <a:extLst>
                <a:ext uri="{FF2B5EF4-FFF2-40B4-BE49-F238E27FC236}">
                  <a16:creationId xmlns:a16="http://schemas.microsoft.com/office/drawing/2014/main" id="{00621C71-79CC-8CA2-152E-7FF7B8561B06}"/>
                </a:ext>
              </a:extLst>
            </p:cNvPr>
            <p:cNvSpPr/>
            <p:nvPr/>
          </p:nvSpPr>
          <p:spPr>
            <a:xfrm>
              <a:off x="5099536" y="2708955"/>
              <a:ext cx="210675" cy="219108"/>
            </a:xfrm>
            <a:custGeom>
              <a:avLst/>
              <a:gdLst>
                <a:gd name="connsiteX0" fmla="*/ 120726 w 144513"/>
                <a:gd name="connsiteY0" fmla="*/ 51841 h 150298"/>
                <a:gd name="connsiteX1" fmla="*/ 129309 w 144513"/>
                <a:gd name="connsiteY1" fmla="*/ 100391 h 150298"/>
                <a:gd name="connsiteX2" fmla="*/ 113394 w 144513"/>
                <a:gd name="connsiteY2" fmla="*/ 125784 h 150298"/>
                <a:gd name="connsiteX3" fmla="*/ 91131 w 144513"/>
                <a:gd name="connsiteY3" fmla="*/ 112015 h 150298"/>
                <a:gd name="connsiteX4" fmla="*/ 87018 w 144513"/>
                <a:gd name="connsiteY4" fmla="*/ 128646 h 150298"/>
                <a:gd name="connsiteX5" fmla="*/ 68241 w 144513"/>
                <a:gd name="connsiteY5" fmla="*/ 150194 h 150298"/>
                <a:gd name="connsiteX6" fmla="*/ 59390 w 144513"/>
                <a:gd name="connsiteY6" fmla="*/ 131686 h 150298"/>
                <a:gd name="connsiteX7" fmla="*/ 30867 w 144513"/>
                <a:gd name="connsiteY7" fmla="*/ 100839 h 150298"/>
                <a:gd name="connsiteX8" fmla="*/ 378 w 144513"/>
                <a:gd name="connsiteY8" fmla="*/ 64716 h 150298"/>
                <a:gd name="connsiteX9" fmla="*/ 26218 w 144513"/>
                <a:gd name="connsiteY9" fmla="*/ 55865 h 150298"/>
                <a:gd name="connsiteX10" fmla="*/ 50448 w 144513"/>
                <a:gd name="connsiteY10" fmla="*/ 51126 h 150298"/>
                <a:gd name="connsiteX11" fmla="*/ 45620 w 144513"/>
                <a:gd name="connsiteY11" fmla="*/ 34406 h 150298"/>
                <a:gd name="connsiteX12" fmla="*/ 44547 w 144513"/>
                <a:gd name="connsiteY12" fmla="*/ 20368 h 150298"/>
                <a:gd name="connsiteX13" fmla="*/ 84514 w 144513"/>
                <a:gd name="connsiteY13" fmla="*/ 3201 h 150298"/>
                <a:gd name="connsiteX14" fmla="*/ 114914 w 144513"/>
                <a:gd name="connsiteY14" fmla="*/ 4900 h 150298"/>
                <a:gd name="connsiteX15" fmla="*/ 143436 w 144513"/>
                <a:gd name="connsiteY15" fmla="*/ 15451 h 150298"/>
                <a:gd name="connsiteX16" fmla="*/ 126448 w 144513"/>
                <a:gd name="connsiteY16" fmla="*/ 33869 h 150298"/>
                <a:gd name="connsiteX17" fmla="*/ 114556 w 144513"/>
                <a:gd name="connsiteY17" fmla="*/ 39234 h 150298"/>
                <a:gd name="connsiteX18" fmla="*/ 103022 w 144513"/>
                <a:gd name="connsiteY18" fmla="*/ 48980 h 150298"/>
                <a:gd name="connsiteX19" fmla="*/ 120726 w 144513"/>
                <a:gd name="connsiteY19" fmla="*/ 51841 h 15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4513" h="150298">
                  <a:moveTo>
                    <a:pt x="120726" y="51841"/>
                  </a:moveTo>
                  <a:cubicBezTo>
                    <a:pt x="123677" y="68024"/>
                    <a:pt x="127253" y="84119"/>
                    <a:pt x="129309" y="100391"/>
                  </a:cubicBezTo>
                  <a:cubicBezTo>
                    <a:pt x="130919" y="112462"/>
                    <a:pt x="125107" y="120777"/>
                    <a:pt x="113394" y="125784"/>
                  </a:cubicBezTo>
                  <a:cubicBezTo>
                    <a:pt x="98909" y="132043"/>
                    <a:pt x="95780" y="120420"/>
                    <a:pt x="91131" y="112015"/>
                  </a:cubicBezTo>
                  <a:cubicBezTo>
                    <a:pt x="80133" y="116307"/>
                    <a:pt x="86481" y="122923"/>
                    <a:pt x="87018" y="128646"/>
                  </a:cubicBezTo>
                  <a:cubicBezTo>
                    <a:pt x="88269" y="142236"/>
                    <a:pt x="80401" y="149210"/>
                    <a:pt x="68241" y="150194"/>
                  </a:cubicBezTo>
                  <a:cubicBezTo>
                    <a:pt x="51968" y="151624"/>
                    <a:pt x="60552" y="138034"/>
                    <a:pt x="59390" y="131686"/>
                  </a:cubicBezTo>
                  <a:cubicBezTo>
                    <a:pt x="56260" y="114787"/>
                    <a:pt x="53131" y="101733"/>
                    <a:pt x="30867" y="100839"/>
                  </a:cubicBezTo>
                  <a:cubicBezTo>
                    <a:pt x="11644" y="100034"/>
                    <a:pt x="13253" y="75356"/>
                    <a:pt x="378" y="64716"/>
                  </a:cubicBezTo>
                  <a:cubicBezTo>
                    <a:pt x="-2752" y="62123"/>
                    <a:pt x="14237" y="45046"/>
                    <a:pt x="26218" y="55865"/>
                  </a:cubicBezTo>
                  <a:cubicBezTo>
                    <a:pt x="38646" y="67130"/>
                    <a:pt x="43832" y="55865"/>
                    <a:pt x="50448" y="51126"/>
                  </a:cubicBezTo>
                  <a:cubicBezTo>
                    <a:pt x="62340" y="42721"/>
                    <a:pt x="49644" y="39145"/>
                    <a:pt x="45620" y="34406"/>
                  </a:cubicBezTo>
                  <a:cubicBezTo>
                    <a:pt x="41686" y="29667"/>
                    <a:pt x="39272" y="23319"/>
                    <a:pt x="44547" y="20368"/>
                  </a:cubicBezTo>
                  <a:cubicBezTo>
                    <a:pt x="57154" y="13305"/>
                    <a:pt x="66632" y="-2432"/>
                    <a:pt x="84514" y="3201"/>
                  </a:cubicBezTo>
                  <a:cubicBezTo>
                    <a:pt x="94618" y="6331"/>
                    <a:pt x="103559" y="11785"/>
                    <a:pt x="114914" y="4900"/>
                  </a:cubicBezTo>
                  <a:cubicBezTo>
                    <a:pt x="127432" y="-2700"/>
                    <a:pt x="137982" y="-3058"/>
                    <a:pt x="143436" y="15451"/>
                  </a:cubicBezTo>
                  <a:cubicBezTo>
                    <a:pt x="148712" y="33601"/>
                    <a:pt x="133243" y="29130"/>
                    <a:pt x="126448" y="33869"/>
                  </a:cubicBezTo>
                  <a:cubicBezTo>
                    <a:pt x="122961" y="36373"/>
                    <a:pt x="118580" y="37535"/>
                    <a:pt x="114556" y="39234"/>
                  </a:cubicBezTo>
                  <a:cubicBezTo>
                    <a:pt x="111606" y="43526"/>
                    <a:pt x="105347" y="43973"/>
                    <a:pt x="103022" y="48980"/>
                  </a:cubicBezTo>
                  <a:cubicBezTo>
                    <a:pt x="109549" y="46029"/>
                    <a:pt x="115451" y="47102"/>
                    <a:pt x="120726" y="5184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5" name="Freeform: Shape 44">
              <a:extLst>
                <a:ext uri="{FF2B5EF4-FFF2-40B4-BE49-F238E27FC236}">
                  <a16:creationId xmlns:a16="http://schemas.microsoft.com/office/drawing/2014/main" id="{8BD9E5A6-5964-F745-83FD-830D326FC202}"/>
                </a:ext>
              </a:extLst>
            </p:cNvPr>
            <p:cNvSpPr/>
            <p:nvPr/>
          </p:nvSpPr>
          <p:spPr>
            <a:xfrm>
              <a:off x="5349437" y="2707855"/>
              <a:ext cx="243610" cy="162900"/>
            </a:xfrm>
            <a:custGeom>
              <a:avLst/>
              <a:gdLst>
                <a:gd name="connsiteX0" fmla="*/ 167023 w 167105"/>
                <a:gd name="connsiteY0" fmla="*/ 13076 h 111742"/>
                <a:gd name="connsiteX1" fmla="*/ 120976 w 167105"/>
                <a:gd name="connsiteY1" fmla="*/ 60107 h 111742"/>
                <a:gd name="connsiteX2" fmla="*/ 51503 w 167105"/>
                <a:gd name="connsiteY2" fmla="*/ 72892 h 111742"/>
                <a:gd name="connsiteX3" fmla="*/ 40864 w 167105"/>
                <a:gd name="connsiteY3" fmla="*/ 109193 h 111742"/>
                <a:gd name="connsiteX4" fmla="*/ 19494 w 167105"/>
                <a:gd name="connsiteY4" fmla="*/ 89433 h 111742"/>
                <a:gd name="connsiteX5" fmla="*/ 5814 w 167105"/>
                <a:gd name="connsiteY5" fmla="*/ 71998 h 111742"/>
                <a:gd name="connsiteX6" fmla="*/ 9748 w 167105"/>
                <a:gd name="connsiteY6" fmla="*/ 37128 h 111742"/>
                <a:gd name="connsiteX7" fmla="*/ 112393 w 167105"/>
                <a:gd name="connsiteY7" fmla="*/ 6638 h 111742"/>
                <a:gd name="connsiteX8" fmla="*/ 167023 w 167105"/>
                <a:gd name="connsiteY8" fmla="*/ 13255 h 111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105" h="111742">
                  <a:moveTo>
                    <a:pt x="167023" y="13076"/>
                  </a:moveTo>
                  <a:cubicBezTo>
                    <a:pt x="169080" y="47231"/>
                    <a:pt x="131974" y="40794"/>
                    <a:pt x="120976" y="60107"/>
                  </a:cubicBezTo>
                  <a:cubicBezTo>
                    <a:pt x="102289" y="93099"/>
                    <a:pt x="74661" y="60643"/>
                    <a:pt x="51503" y="72892"/>
                  </a:cubicBezTo>
                  <a:cubicBezTo>
                    <a:pt x="70012" y="90417"/>
                    <a:pt x="55706" y="102219"/>
                    <a:pt x="40864" y="109193"/>
                  </a:cubicBezTo>
                  <a:cubicBezTo>
                    <a:pt x="22802" y="117688"/>
                    <a:pt x="21372" y="103382"/>
                    <a:pt x="19494" y="89433"/>
                  </a:cubicBezTo>
                  <a:cubicBezTo>
                    <a:pt x="18600" y="83085"/>
                    <a:pt x="10374" y="77899"/>
                    <a:pt x="5814" y="71998"/>
                  </a:cubicBezTo>
                  <a:cubicBezTo>
                    <a:pt x="-4110" y="59034"/>
                    <a:pt x="-355" y="51076"/>
                    <a:pt x="9748" y="37128"/>
                  </a:cubicBezTo>
                  <a:cubicBezTo>
                    <a:pt x="37466" y="-1230"/>
                    <a:pt x="69207" y="-6863"/>
                    <a:pt x="112393" y="6638"/>
                  </a:cubicBezTo>
                  <a:cubicBezTo>
                    <a:pt x="129023" y="11824"/>
                    <a:pt x="149945" y="6817"/>
                    <a:pt x="167023" y="1325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6" name="Freeform: Shape 45">
              <a:extLst>
                <a:ext uri="{FF2B5EF4-FFF2-40B4-BE49-F238E27FC236}">
                  <a16:creationId xmlns:a16="http://schemas.microsoft.com/office/drawing/2014/main" id="{0E4D4696-72CA-AD4D-EDFB-1AE2A8C09C82}"/>
                </a:ext>
              </a:extLst>
            </p:cNvPr>
            <p:cNvSpPr/>
            <p:nvPr/>
          </p:nvSpPr>
          <p:spPr>
            <a:xfrm>
              <a:off x="5204422" y="2480170"/>
              <a:ext cx="148701" cy="152435"/>
            </a:xfrm>
            <a:custGeom>
              <a:avLst/>
              <a:gdLst>
                <a:gd name="connsiteX0" fmla="*/ 49941 w 102002"/>
                <a:gd name="connsiteY0" fmla="*/ 0 h 104564"/>
                <a:gd name="connsiteX1" fmla="*/ 101889 w 102002"/>
                <a:gd name="connsiteY1" fmla="*/ 45958 h 104564"/>
                <a:gd name="connsiteX2" fmla="*/ 49315 w 102002"/>
                <a:gd name="connsiteY2" fmla="*/ 104522 h 104564"/>
                <a:gd name="connsiteX3" fmla="*/ 24101 w 102002"/>
                <a:gd name="connsiteY3" fmla="*/ 73139 h 104564"/>
                <a:gd name="connsiteX4" fmla="*/ 3268 w 102002"/>
                <a:gd name="connsiteY4" fmla="*/ 50875 h 104564"/>
                <a:gd name="connsiteX5" fmla="*/ 1748 w 102002"/>
                <a:gd name="connsiteY5" fmla="*/ 42739 h 104564"/>
                <a:gd name="connsiteX6" fmla="*/ 18021 w 102002"/>
                <a:gd name="connsiteY6" fmla="*/ 19581 h 104564"/>
                <a:gd name="connsiteX7" fmla="*/ 31880 w 102002"/>
                <a:gd name="connsiteY7" fmla="*/ 6616 h 104564"/>
                <a:gd name="connsiteX8" fmla="*/ 49852 w 102002"/>
                <a:gd name="connsiteY8" fmla="*/ 89 h 10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002" h="104564">
                  <a:moveTo>
                    <a:pt x="49941" y="0"/>
                  </a:moveTo>
                  <a:cubicBezTo>
                    <a:pt x="95899" y="1699"/>
                    <a:pt x="103052" y="8047"/>
                    <a:pt x="101889" y="45958"/>
                  </a:cubicBezTo>
                  <a:cubicBezTo>
                    <a:pt x="100727" y="85567"/>
                    <a:pt x="83560" y="103449"/>
                    <a:pt x="49315" y="104522"/>
                  </a:cubicBezTo>
                  <a:cubicBezTo>
                    <a:pt x="24817" y="105327"/>
                    <a:pt x="18021" y="94597"/>
                    <a:pt x="24101" y="73139"/>
                  </a:cubicBezTo>
                  <a:cubicBezTo>
                    <a:pt x="29645" y="53379"/>
                    <a:pt x="24280" y="45153"/>
                    <a:pt x="3268" y="50875"/>
                  </a:cubicBezTo>
                  <a:cubicBezTo>
                    <a:pt x="-487" y="48729"/>
                    <a:pt x="-1024" y="46047"/>
                    <a:pt x="1748" y="42739"/>
                  </a:cubicBezTo>
                  <a:cubicBezTo>
                    <a:pt x="1748" y="31205"/>
                    <a:pt x="32148" y="41040"/>
                    <a:pt x="18021" y="19581"/>
                  </a:cubicBezTo>
                  <a:cubicBezTo>
                    <a:pt x="20972" y="13501"/>
                    <a:pt x="27320" y="11087"/>
                    <a:pt x="31880" y="6616"/>
                  </a:cubicBezTo>
                  <a:cubicBezTo>
                    <a:pt x="36708" y="1252"/>
                    <a:pt x="44219" y="3219"/>
                    <a:pt x="49852"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7" name="Freeform: Shape 46">
              <a:extLst>
                <a:ext uri="{FF2B5EF4-FFF2-40B4-BE49-F238E27FC236}">
                  <a16:creationId xmlns:a16="http://schemas.microsoft.com/office/drawing/2014/main" id="{307657EF-E43B-E53A-1953-E568BB651D63}"/>
                </a:ext>
              </a:extLst>
            </p:cNvPr>
            <p:cNvSpPr/>
            <p:nvPr/>
          </p:nvSpPr>
          <p:spPr>
            <a:xfrm>
              <a:off x="5123548" y="2235528"/>
              <a:ext cx="236008" cy="119583"/>
            </a:xfrm>
            <a:custGeom>
              <a:avLst/>
              <a:gdLst>
                <a:gd name="connsiteX0" fmla="*/ 7064 w 161891"/>
                <a:gd name="connsiteY0" fmla="*/ 46751 h 82028"/>
                <a:gd name="connsiteX1" fmla="*/ 42470 w 161891"/>
                <a:gd name="connsiteY1" fmla="*/ 38972 h 82028"/>
                <a:gd name="connsiteX2" fmla="*/ 0 w 161891"/>
                <a:gd name="connsiteY2" fmla="*/ 19480 h 82028"/>
                <a:gd name="connsiteX3" fmla="*/ 70367 w 161891"/>
                <a:gd name="connsiteY3" fmla="*/ 5264 h 82028"/>
                <a:gd name="connsiteX4" fmla="*/ 122315 w 161891"/>
                <a:gd name="connsiteY4" fmla="*/ 21000 h 82028"/>
                <a:gd name="connsiteX5" fmla="*/ 159331 w 161891"/>
                <a:gd name="connsiteY5" fmla="*/ 64812 h 82028"/>
                <a:gd name="connsiteX6" fmla="*/ 145294 w 161891"/>
                <a:gd name="connsiteY6" fmla="*/ 81889 h 82028"/>
                <a:gd name="connsiteX7" fmla="*/ 130988 w 161891"/>
                <a:gd name="connsiteY7" fmla="*/ 74915 h 82028"/>
                <a:gd name="connsiteX8" fmla="*/ 41666 w 161891"/>
                <a:gd name="connsiteY8" fmla="*/ 59268 h 82028"/>
                <a:gd name="connsiteX9" fmla="*/ 6974 w 161891"/>
                <a:gd name="connsiteY9" fmla="*/ 46751 h 8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891" h="82028">
                  <a:moveTo>
                    <a:pt x="7064" y="46751"/>
                  </a:moveTo>
                  <a:cubicBezTo>
                    <a:pt x="17882" y="35932"/>
                    <a:pt x="31384" y="46930"/>
                    <a:pt x="42470" y="38972"/>
                  </a:cubicBezTo>
                  <a:cubicBezTo>
                    <a:pt x="34871" y="20285"/>
                    <a:pt x="14216" y="28511"/>
                    <a:pt x="0" y="19480"/>
                  </a:cubicBezTo>
                  <a:cubicBezTo>
                    <a:pt x="19671" y="-5555"/>
                    <a:pt x="48193" y="-1800"/>
                    <a:pt x="70367" y="5264"/>
                  </a:cubicBezTo>
                  <a:cubicBezTo>
                    <a:pt x="87266" y="10718"/>
                    <a:pt x="105327" y="16261"/>
                    <a:pt x="122315" y="21000"/>
                  </a:cubicBezTo>
                  <a:cubicBezTo>
                    <a:pt x="147082" y="27885"/>
                    <a:pt x="149139" y="49165"/>
                    <a:pt x="159331" y="64812"/>
                  </a:cubicBezTo>
                  <a:cubicBezTo>
                    <a:pt x="166485" y="75809"/>
                    <a:pt x="157633" y="83141"/>
                    <a:pt x="145294" y="81889"/>
                  </a:cubicBezTo>
                  <a:cubicBezTo>
                    <a:pt x="140287" y="81353"/>
                    <a:pt x="134833" y="78402"/>
                    <a:pt x="130988" y="74915"/>
                  </a:cubicBezTo>
                  <a:cubicBezTo>
                    <a:pt x="104433" y="50774"/>
                    <a:pt x="75016" y="47734"/>
                    <a:pt x="41666" y="59268"/>
                  </a:cubicBezTo>
                  <a:cubicBezTo>
                    <a:pt x="29327" y="63560"/>
                    <a:pt x="13591" y="64544"/>
                    <a:pt x="6974" y="4675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8" name="Freeform: Shape 47">
              <a:extLst>
                <a:ext uri="{FF2B5EF4-FFF2-40B4-BE49-F238E27FC236}">
                  <a16:creationId xmlns:a16="http://schemas.microsoft.com/office/drawing/2014/main" id="{BB175EAE-E7C7-0100-512D-25D9C7AD0062}"/>
                </a:ext>
              </a:extLst>
            </p:cNvPr>
            <p:cNvSpPr/>
            <p:nvPr/>
          </p:nvSpPr>
          <p:spPr>
            <a:xfrm>
              <a:off x="5390500" y="2271016"/>
              <a:ext cx="133574" cy="100741"/>
            </a:xfrm>
            <a:custGeom>
              <a:avLst/>
              <a:gdLst>
                <a:gd name="connsiteX0" fmla="*/ 89 w 91625"/>
                <a:gd name="connsiteY0" fmla="*/ 47800 h 69104"/>
                <a:gd name="connsiteX1" fmla="*/ 805 w 91625"/>
                <a:gd name="connsiteY1" fmla="*/ 14002 h 69104"/>
                <a:gd name="connsiteX2" fmla="*/ 22263 w 91625"/>
                <a:gd name="connsiteY2" fmla="*/ 1127 h 69104"/>
                <a:gd name="connsiteX3" fmla="*/ 83689 w 91625"/>
                <a:gd name="connsiteY3" fmla="*/ 27861 h 69104"/>
                <a:gd name="connsiteX4" fmla="*/ 89948 w 91625"/>
                <a:gd name="connsiteY4" fmla="*/ 43955 h 69104"/>
                <a:gd name="connsiteX5" fmla="*/ 35854 w 91625"/>
                <a:gd name="connsiteY5" fmla="*/ 67381 h 69104"/>
                <a:gd name="connsiteX6" fmla="*/ 4292 w 91625"/>
                <a:gd name="connsiteY6" fmla="*/ 55311 h 69104"/>
                <a:gd name="connsiteX7" fmla="*/ 0 w 91625"/>
                <a:gd name="connsiteY7" fmla="*/ 47800 h 69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25" h="69104">
                  <a:moveTo>
                    <a:pt x="89" y="47800"/>
                  </a:moveTo>
                  <a:cubicBezTo>
                    <a:pt x="27986" y="36624"/>
                    <a:pt x="3845" y="26520"/>
                    <a:pt x="805" y="14002"/>
                  </a:cubicBezTo>
                  <a:cubicBezTo>
                    <a:pt x="-894" y="6849"/>
                    <a:pt x="10640" y="-3433"/>
                    <a:pt x="22263" y="1127"/>
                  </a:cubicBezTo>
                  <a:cubicBezTo>
                    <a:pt x="43007" y="9264"/>
                    <a:pt x="63482" y="18473"/>
                    <a:pt x="83689" y="27861"/>
                  </a:cubicBezTo>
                  <a:cubicBezTo>
                    <a:pt x="89859" y="30722"/>
                    <a:pt x="94150" y="37339"/>
                    <a:pt x="89948" y="43955"/>
                  </a:cubicBezTo>
                  <a:cubicBezTo>
                    <a:pt x="77609" y="63536"/>
                    <a:pt x="53289" y="57099"/>
                    <a:pt x="35854" y="67381"/>
                  </a:cubicBezTo>
                  <a:cubicBezTo>
                    <a:pt x="26555" y="72925"/>
                    <a:pt x="13233" y="64073"/>
                    <a:pt x="4292" y="55311"/>
                  </a:cubicBezTo>
                  <a:cubicBezTo>
                    <a:pt x="2861" y="53880"/>
                    <a:pt x="2146" y="51645"/>
                    <a:pt x="0" y="478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9" name="Freeform: Shape 48">
              <a:extLst>
                <a:ext uri="{FF2B5EF4-FFF2-40B4-BE49-F238E27FC236}">
                  <a16:creationId xmlns:a16="http://schemas.microsoft.com/office/drawing/2014/main" id="{3AF1A0A0-428D-8745-AB0F-3BAFB5586BD9}"/>
                </a:ext>
              </a:extLst>
            </p:cNvPr>
            <p:cNvSpPr/>
            <p:nvPr/>
          </p:nvSpPr>
          <p:spPr>
            <a:xfrm>
              <a:off x="5920541" y="2774101"/>
              <a:ext cx="147925" cy="77007"/>
            </a:xfrm>
            <a:custGeom>
              <a:avLst/>
              <a:gdLst>
                <a:gd name="connsiteX0" fmla="*/ 33850 w 101470"/>
                <a:gd name="connsiteY0" fmla="*/ 0 h 52823"/>
                <a:gd name="connsiteX1" fmla="*/ 94471 w 101470"/>
                <a:gd name="connsiteY1" fmla="*/ 28612 h 52823"/>
                <a:gd name="connsiteX2" fmla="*/ 99925 w 101470"/>
                <a:gd name="connsiteY2" fmla="*/ 45421 h 52823"/>
                <a:gd name="connsiteX3" fmla="*/ 79182 w 101470"/>
                <a:gd name="connsiteY3" fmla="*/ 50428 h 52823"/>
                <a:gd name="connsiteX4" fmla="*/ 42702 w 101470"/>
                <a:gd name="connsiteY4" fmla="*/ 44795 h 52823"/>
                <a:gd name="connsiteX5" fmla="*/ 14984 w 101470"/>
                <a:gd name="connsiteY5" fmla="*/ 45510 h 52823"/>
                <a:gd name="connsiteX6" fmla="*/ 2020 w 101470"/>
                <a:gd name="connsiteY6" fmla="*/ 11087 h 52823"/>
                <a:gd name="connsiteX7" fmla="*/ 33671 w 101470"/>
                <a:gd name="connsiteY7" fmla="*/ 0 h 52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470" h="52823">
                  <a:moveTo>
                    <a:pt x="33850" y="0"/>
                  </a:moveTo>
                  <a:cubicBezTo>
                    <a:pt x="61031" y="0"/>
                    <a:pt x="82311" y="5275"/>
                    <a:pt x="94471" y="28612"/>
                  </a:cubicBezTo>
                  <a:cubicBezTo>
                    <a:pt x="97243" y="33887"/>
                    <a:pt x="104664" y="38536"/>
                    <a:pt x="99925" y="45421"/>
                  </a:cubicBezTo>
                  <a:cubicBezTo>
                    <a:pt x="95008" y="52485"/>
                    <a:pt x="86782" y="51769"/>
                    <a:pt x="79182" y="50428"/>
                  </a:cubicBezTo>
                  <a:cubicBezTo>
                    <a:pt x="67201" y="48372"/>
                    <a:pt x="57634" y="37106"/>
                    <a:pt x="42702" y="44795"/>
                  </a:cubicBezTo>
                  <a:cubicBezTo>
                    <a:pt x="35281" y="48640"/>
                    <a:pt x="22316" y="60353"/>
                    <a:pt x="14984" y="45510"/>
                  </a:cubicBezTo>
                  <a:cubicBezTo>
                    <a:pt x="9620" y="34602"/>
                    <a:pt x="-5401" y="25303"/>
                    <a:pt x="2020" y="11087"/>
                  </a:cubicBezTo>
                  <a:cubicBezTo>
                    <a:pt x="9083" y="-2325"/>
                    <a:pt x="24283" y="447"/>
                    <a:pt x="3367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0" name="Freeform: Shape 49">
              <a:extLst>
                <a:ext uri="{FF2B5EF4-FFF2-40B4-BE49-F238E27FC236}">
                  <a16:creationId xmlns:a16="http://schemas.microsoft.com/office/drawing/2014/main" id="{06BB7620-C776-022B-EA03-990129E60FA8}"/>
                </a:ext>
              </a:extLst>
            </p:cNvPr>
            <p:cNvSpPr/>
            <p:nvPr/>
          </p:nvSpPr>
          <p:spPr>
            <a:xfrm>
              <a:off x="5139192" y="3058050"/>
              <a:ext cx="138137" cy="100368"/>
            </a:xfrm>
            <a:custGeom>
              <a:avLst/>
              <a:gdLst>
                <a:gd name="connsiteX0" fmla="*/ 0 w 94755"/>
                <a:gd name="connsiteY0" fmla="*/ 41540 h 68848"/>
                <a:gd name="connsiteX1" fmla="*/ 33261 w 94755"/>
                <a:gd name="connsiteY1" fmla="*/ 16147 h 68848"/>
                <a:gd name="connsiteX2" fmla="*/ 70635 w 94755"/>
                <a:gd name="connsiteY2" fmla="*/ 11944 h 68848"/>
                <a:gd name="connsiteX3" fmla="*/ 92183 w 94755"/>
                <a:gd name="connsiteY3" fmla="*/ 47709 h 68848"/>
                <a:gd name="connsiteX4" fmla="*/ 75732 w 94755"/>
                <a:gd name="connsiteY4" fmla="*/ 68095 h 68848"/>
                <a:gd name="connsiteX5" fmla="*/ 0 w 94755"/>
                <a:gd name="connsiteY5" fmla="*/ 41540 h 6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755" h="68848">
                  <a:moveTo>
                    <a:pt x="0" y="41540"/>
                  </a:moveTo>
                  <a:cubicBezTo>
                    <a:pt x="14485" y="34029"/>
                    <a:pt x="28612" y="32151"/>
                    <a:pt x="33261" y="16147"/>
                  </a:cubicBezTo>
                  <a:cubicBezTo>
                    <a:pt x="41129" y="-11034"/>
                    <a:pt x="59459" y="2199"/>
                    <a:pt x="70635" y="11944"/>
                  </a:cubicBezTo>
                  <a:cubicBezTo>
                    <a:pt x="80649" y="20707"/>
                    <a:pt x="86550" y="35013"/>
                    <a:pt x="92183" y="47709"/>
                  </a:cubicBezTo>
                  <a:cubicBezTo>
                    <a:pt x="99068" y="63177"/>
                    <a:pt x="91647" y="71493"/>
                    <a:pt x="75732" y="68095"/>
                  </a:cubicBezTo>
                  <a:cubicBezTo>
                    <a:pt x="50965" y="62820"/>
                    <a:pt x="25661" y="58349"/>
                    <a:pt x="0" y="4154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1" name="Freeform: Shape 50">
              <a:extLst>
                <a:ext uri="{FF2B5EF4-FFF2-40B4-BE49-F238E27FC236}">
                  <a16:creationId xmlns:a16="http://schemas.microsoft.com/office/drawing/2014/main" id="{98F20DB1-9E4F-7E86-6426-7BF5798C5B07}"/>
                </a:ext>
              </a:extLst>
            </p:cNvPr>
            <p:cNvSpPr/>
            <p:nvPr/>
          </p:nvSpPr>
          <p:spPr>
            <a:xfrm>
              <a:off x="4800208" y="2304399"/>
              <a:ext cx="121977" cy="61882"/>
            </a:xfrm>
            <a:custGeom>
              <a:avLst/>
              <a:gdLst>
                <a:gd name="connsiteX0" fmla="*/ 33675 w 83671"/>
                <a:gd name="connsiteY0" fmla="*/ 41889 h 42449"/>
                <a:gd name="connsiteX1" fmla="*/ 324 w 83671"/>
                <a:gd name="connsiteY1" fmla="*/ 32144 h 42449"/>
                <a:gd name="connsiteX2" fmla="*/ 25449 w 83671"/>
                <a:gd name="connsiteY2" fmla="*/ 12384 h 42449"/>
                <a:gd name="connsiteX3" fmla="*/ 56922 w 83671"/>
                <a:gd name="connsiteY3" fmla="*/ 4337 h 42449"/>
                <a:gd name="connsiteX4" fmla="*/ 83477 w 83671"/>
                <a:gd name="connsiteY4" fmla="*/ 8628 h 42449"/>
                <a:gd name="connsiteX5" fmla="*/ 63270 w 83671"/>
                <a:gd name="connsiteY5" fmla="*/ 37866 h 42449"/>
                <a:gd name="connsiteX6" fmla="*/ 33675 w 83671"/>
                <a:gd name="connsiteY6" fmla="*/ 41800 h 42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671" h="42449">
                  <a:moveTo>
                    <a:pt x="33675" y="41889"/>
                  </a:moveTo>
                  <a:cubicBezTo>
                    <a:pt x="19816" y="40459"/>
                    <a:pt x="3275" y="47969"/>
                    <a:pt x="324" y="32144"/>
                  </a:cubicBezTo>
                  <a:cubicBezTo>
                    <a:pt x="-2626" y="16586"/>
                    <a:pt x="15256" y="16586"/>
                    <a:pt x="25449" y="12384"/>
                  </a:cubicBezTo>
                  <a:cubicBezTo>
                    <a:pt x="35374" y="8360"/>
                    <a:pt x="46193" y="5320"/>
                    <a:pt x="56922" y="4337"/>
                  </a:cubicBezTo>
                  <a:cubicBezTo>
                    <a:pt x="66131" y="3532"/>
                    <a:pt x="81331" y="-7287"/>
                    <a:pt x="83477" y="8628"/>
                  </a:cubicBezTo>
                  <a:cubicBezTo>
                    <a:pt x="84908" y="18642"/>
                    <a:pt x="78470" y="34468"/>
                    <a:pt x="63270" y="37866"/>
                  </a:cubicBezTo>
                  <a:cubicBezTo>
                    <a:pt x="52720" y="40280"/>
                    <a:pt x="41811" y="40817"/>
                    <a:pt x="33675" y="418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2" name="Freeform: Shape 51">
              <a:extLst>
                <a:ext uri="{FF2B5EF4-FFF2-40B4-BE49-F238E27FC236}">
                  <a16:creationId xmlns:a16="http://schemas.microsoft.com/office/drawing/2014/main" id="{D30EFE0B-2A75-571F-7C54-F0D4C1CD272C}"/>
                </a:ext>
              </a:extLst>
            </p:cNvPr>
            <p:cNvSpPr/>
            <p:nvPr/>
          </p:nvSpPr>
          <p:spPr>
            <a:xfrm>
              <a:off x="5961169" y="3212014"/>
              <a:ext cx="83833" cy="79000"/>
            </a:xfrm>
            <a:custGeom>
              <a:avLst/>
              <a:gdLst>
                <a:gd name="connsiteX0" fmla="*/ 1063 w 57506"/>
                <a:gd name="connsiteY0" fmla="*/ 46440 h 54191"/>
                <a:gd name="connsiteX1" fmla="*/ 22522 w 57506"/>
                <a:gd name="connsiteY1" fmla="*/ 4596 h 54191"/>
                <a:gd name="connsiteX2" fmla="*/ 53727 w 57506"/>
                <a:gd name="connsiteY2" fmla="*/ 9245 h 54191"/>
                <a:gd name="connsiteX3" fmla="*/ 46306 w 57506"/>
                <a:gd name="connsiteY3" fmla="*/ 40271 h 54191"/>
                <a:gd name="connsiteX4" fmla="*/ 974 w 57506"/>
                <a:gd name="connsiteY4" fmla="*/ 46351 h 54191"/>
                <a:gd name="connsiteX5" fmla="*/ 974 w 57506"/>
                <a:gd name="connsiteY5" fmla="*/ 46530 h 5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6" h="54191">
                  <a:moveTo>
                    <a:pt x="1063" y="46440"/>
                  </a:moveTo>
                  <a:cubicBezTo>
                    <a:pt x="-3050" y="26680"/>
                    <a:pt x="4908" y="13000"/>
                    <a:pt x="22522" y="4596"/>
                  </a:cubicBezTo>
                  <a:cubicBezTo>
                    <a:pt x="33698" y="-769"/>
                    <a:pt x="45501" y="-3809"/>
                    <a:pt x="53727" y="9245"/>
                  </a:cubicBezTo>
                  <a:cubicBezTo>
                    <a:pt x="61416" y="21494"/>
                    <a:pt x="56588" y="32582"/>
                    <a:pt x="46306" y="40271"/>
                  </a:cubicBezTo>
                  <a:cubicBezTo>
                    <a:pt x="32805" y="50374"/>
                    <a:pt x="18499" y="62445"/>
                    <a:pt x="974" y="46351"/>
                  </a:cubicBezTo>
                  <a:lnTo>
                    <a:pt x="974" y="46530"/>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3" name="Freeform: Shape 52">
              <a:extLst>
                <a:ext uri="{FF2B5EF4-FFF2-40B4-BE49-F238E27FC236}">
                  <a16:creationId xmlns:a16="http://schemas.microsoft.com/office/drawing/2014/main" id="{1C99BA20-B1CE-5473-EABC-8A4133500114}"/>
                </a:ext>
              </a:extLst>
            </p:cNvPr>
            <p:cNvSpPr/>
            <p:nvPr/>
          </p:nvSpPr>
          <p:spPr>
            <a:xfrm>
              <a:off x="5374227" y="2586925"/>
              <a:ext cx="94604" cy="66938"/>
            </a:xfrm>
            <a:custGeom>
              <a:avLst/>
              <a:gdLst>
                <a:gd name="connsiteX0" fmla="*/ 28240 w 64894"/>
                <a:gd name="connsiteY0" fmla="*/ 89 h 45916"/>
                <a:gd name="connsiteX1" fmla="*/ 64451 w 64894"/>
                <a:gd name="connsiteY1" fmla="*/ 31562 h 45916"/>
                <a:gd name="connsiteX2" fmla="*/ 53364 w 64894"/>
                <a:gd name="connsiteY2" fmla="*/ 45242 h 45916"/>
                <a:gd name="connsiteX3" fmla="*/ 790 w 64894"/>
                <a:gd name="connsiteY3" fmla="*/ 22800 h 45916"/>
                <a:gd name="connsiteX4" fmla="*/ 28240 w 64894"/>
                <a:gd name="connsiteY4" fmla="*/ 0 h 45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94" h="45916">
                  <a:moveTo>
                    <a:pt x="28240" y="89"/>
                  </a:moveTo>
                  <a:cubicBezTo>
                    <a:pt x="52291" y="-805"/>
                    <a:pt x="61322" y="12339"/>
                    <a:pt x="64451" y="31562"/>
                  </a:cubicBezTo>
                  <a:cubicBezTo>
                    <a:pt x="65792" y="40056"/>
                    <a:pt x="64630" y="48372"/>
                    <a:pt x="53364" y="45242"/>
                  </a:cubicBezTo>
                  <a:cubicBezTo>
                    <a:pt x="34588" y="40056"/>
                    <a:pt x="8122" y="43186"/>
                    <a:pt x="790" y="22800"/>
                  </a:cubicBezTo>
                  <a:cubicBezTo>
                    <a:pt x="-4217" y="9031"/>
                    <a:pt x="15722" y="1967"/>
                    <a:pt x="28240"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4" name="Freeform: Shape 53">
              <a:extLst>
                <a:ext uri="{FF2B5EF4-FFF2-40B4-BE49-F238E27FC236}">
                  <a16:creationId xmlns:a16="http://schemas.microsoft.com/office/drawing/2014/main" id="{5CD1B0D3-E798-46AF-31D8-3BD5BBDBA9F7}"/>
                </a:ext>
              </a:extLst>
            </p:cNvPr>
            <p:cNvSpPr/>
            <p:nvPr/>
          </p:nvSpPr>
          <p:spPr>
            <a:xfrm>
              <a:off x="4950317" y="2703991"/>
              <a:ext cx="86315" cy="53276"/>
            </a:xfrm>
            <a:custGeom>
              <a:avLst/>
              <a:gdLst>
                <a:gd name="connsiteX0" fmla="*/ 17883 w 59208"/>
                <a:gd name="connsiteY0" fmla="*/ 1419 h 36544"/>
                <a:gd name="connsiteX1" fmla="*/ 39968 w 59208"/>
                <a:gd name="connsiteY1" fmla="*/ 4281 h 36544"/>
                <a:gd name="connsiteX2" fmla="*/ 59102 w 59208"/>
                <a:gd name="connsiteY2" fmla="*/ 17424 h 36544"/>
                <a:gd name="connsiteX3" fmla="*/ 43008 w 59208"/>
                <a:gd name="connsiteY3" fmla="*/ 35396 h 36544"/>
                <a:gd name="connsiteX4" fmla="*/ 1 w 59208"/>
                <a:gd name="connsiteY4" fmla="*/ 11434 h 36544"/>
                <a:gd name="connsiteX5" fmla="*/ 17883 w 59208"/>
                <a:gd name="connsiteY5" fmla="*/ 1509 h 3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08" h="36544">
                  <a:moveTo>
                    <a:pt x="17883" y="1419"/>
                  </a:moveTo>
                  <a:cubicBezTo>
                    <a:pt x="25215" y="2492"/>
                    <a:pt x="32636" y="4638"/>
                    <a:pt x="39968" y="4281"/>
                  </a:cubicBezTo>
                  <a:cubicBezTo>
                    <a:pt x="50339" y="3834"/>
                    <a:pt x="57939" y="8483"/>
                    <a:pt x="59102" y="17424"/>
                  </a:cubicBezTo>
                  <a:cubicBezTo>
                    <a:pt x="60353" y="27170"/>
                    <a:pt x="50339" y="31551"/>
                    <a:pt x="43008" y="35396"/>
                  </a:cubicBezTo>
                  <a:cubicBezTo>
                    <a:pt x="31652" y="41208"/>
                    <a:pt x="90" y="23683"/>
                    <a:pt x="1" y="11434"/>
                  </a:cubicBezTo>
                  <a:cubicBezTo>
                    <a:pt x="-89" y="-995"/>
                    <a:pt x="8584" y="-1442"/>
                    <a:pt x="17883" y="15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5" name="Freeform: Shape 54">
              <a:extLst>
                <a:ext uri="{FF2B5EF4-FFF2-40B4-BE49-F238E27FC236}">
                  <a16:creationId xmlns:a16="http://schemas.microsoft.com/office/drawing/2014/main" id="{46130DDD-4D9D-C93E-16E4-8CFD1FF8E9E2}"/>
                </a:ext>
              </a:extLst>
            </p:cNvPr>
            <p:cNvSpPr/>
            <p:nvPr/>
          </p:nvSpPr>
          <p:spPr>
            <a:xfrm>
              <a:off x="4813325" y="2258186"/>
              <a:ext cx="137123" cy="35591"/>
            </a:xfrm>
            <a:custGeom>
              <a:avLst/>
              <a:gdLst>
                <a:gd name="connsiteX0" fmla="*/ 0 w 94060"/>
                <a:gd name="connsiteY0" fmla="*/ 24413 h 24413"/>
                <a:gd name="connsiteX1" fmla="*/ 94061 w 94060"/>
                <a:gd name="connsiteY1" fmla="*/ 7604 h 24413"/>
                <a:gd name="connsiteX2" fmla="*/ 0 w 94060"/>
                <a:gd name="connsiteY2" fmla="*/ 24413 h 24413"/>
              </a:gdLst>
              <a:ahLst/>
              <a:cxnLst>
                <a:cxn ang="0">
                  <a:pos x="connsiteX0" y="connsiteY0"/>
                </a:cxn>
                <a:cxn ang="0">
                  <a:pos x="connsiteX1" y="connsiteY1"/>
                </a:cxn>
                <a:cxn ang="0">
                  <a:pos x="connsiteX2" y="connsiteY2"/>
                </a:cxn>
              </a:cxnLst>
              <a:rect l="l" t="t" r="r" b="b"/>
              <a:pathLst>
                <a:path w="94060" h="24413">
                  <a:moveTo>
                    <a:pt x="0" y="24413"/>
                  </a:moveTo>
                  <a:cubicBezTo>
                    <a:pt x="25482" y="2418"/>
                    <a:pt x="53468" y="-8311"/>
                    <a:pt x="94061" y="7604"/>
                  </a:cubicBezTo>
                  <a:cubicBezTo>
                    <a:pt x="60800" y="26649"/>
                    <a:pt x="29595" y="21642"/>
                    <a:pt x="0" y="244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6" name="Freeform: Shape 55">
              <a:extLst>
                <a:ext uri="{FF2B5EF4-FFF2-40B4-BE49-F238E27FC236}">
                  <a16:creationId xmlns:a16="http://schemas.microsoft.com/office/drawing/2014/main" id="{686898C9-7D09-86F0-FFFB-F16AA5550B0C}"/>
                </a:ext>
              </a:extLst>
            </p:cNvPr>
            <p:cNvSpPr/>
            <p:nvPr/>
          </p:nvSpPr>
          <p:spPr>
            <a:xfrm>
              <a:off x="5637871" y="3614066"/>
              <a:ext cx="73675" cy="57731"/>
            </a:xfrm>
            <a:custGeom>
              <a:avLst/>
              <a:gdLst>
                <a:gd name="connsiteX0" fmla="*/ 14233 w 50538"/>
                <a:gd name="connsiteY0" fmla="*/ 39602 h 39601"/>
                <a:gd name="connsiteX1" fmla="*/ 285 w 50538"/>
                <a:gd name="connsiteY1" fmla="*/ 27084 h 39601"/>
                <a:gd name="connsiteX2" fmla="*/ 39984 w 50538"/>
                <a:gd name="connsiteY2" fmla="*/ 261 h 39601"/>
                <a:gd name="connsiteX3" fmla="*/ 50087 w 50538"/>
                <a:gd name="connsiteY3" fmla="*/ 8397 h 39601"/>
                <a:gd name="connsiteX4" fmla="*/ 14233 w 50538"/>
                <a:gd name="connsiteY4" fmla="*/ 39512 h 39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38" h="39601">
                  <a:moveTo>
                    <a:pt x="14233" y="39602"/>
                  </a:moveTo>
                  <a:cubicBezTo>
                    <a:pt x="3951" y="38887"/>
                    <a:pt x="-1324" y="34416"/>
                    <a:pt x="285" y="27084"/>
                  </a:cubicBezTo>
                  <a:cubicBezTo>
                    <a:pt x="4935" y="6341"/>
                    <a:pt x="23175" y="3748"/>
                    <a:pt x="39984" y="261"/>
                  </a:cubicBezTo>
                  <a:cubicBezTo>
                    <a:pt x="45259" y="-812"/>
                    <a:pt x="52412" y="1334"/>
                    <a:pt x="50087" y="8397"/>
                  </a:cubicBezTo>
                  <a:cubicBezTo>
                    <a:pt x="44007" y="26458"/>
                    <a:pt x="23801" y="28068"/>
                    <a:pt x="14233" y="395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7" name="Freeform: Shape 56">
              <a:extLst>
                <a:ext uri="{FF2B5EF4-FFF2-40B4-BE49-F238E27FC236}">
                  <a16:creationId xmlns:a16="http://schemas.microsoft.com/office/drawing/2014/main" id="{9EB437EC-EDBC-14B4-2014-B0031DA3E72C}"/>
                </a:ext>
              </a:extLst>
            </p:cNvPr>
            <p:cNvSpPr/>
            <p:nvPr/>
          </p:nvSpPr>
          <p:spPr>
            <a:xfrm>
              <a:off x="5777549" y="3650929"/>
              <a:ext cx="43297" cy="58151"/>
            </a:xfrm>
            <a:custGeom>
              <a:avLst/>
              <a:gdLst>
                <a:gd name="connsiteX0" fmla="*/ 143 w 29700"/>
                <a:gd name="connsiteY0" fmla="*/ 23793 h 39889"/>
                <a:gd name="connsiteX1" fmla="*/ 13466 w 29700"/>
                <a:gd name="connsiteY1" fmla="*/ 9 h 39889"/>
                <a:gd name="connsiteX2" fmla="*/ 29649 w 29700"/>
                <a:gd name="connsiteY2" fmla="*/ 16014 h 39889"/>
                <a:gd name="connsiteX3" fmla="*/ 10694 w 29700"/>
                <a:gd name="connsiteY3" fmla="*/ 39619 h 39889"/>
                <a:gd name="connsiteX4" fmla="*/ 143 w 29700"/>
                <a:gd name="connsiteY4" fmla="*/ 23793 h 39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00" h="39889">
                  <a:moveTo>
                    <a:pt x="143" y="23793"/>
                  </a:moveTo>
                  <a:cubicBezTo>
                    <a:pt x="-304" y="11096"/>
                    <a:pt x="-572" y="456"/>
                    <a:pt x="13466" y="9"/>
                  </a:cubicBezTo>
                  <a:cubicBezTo>
                    <a:pt x="23569" y="-259"/>
                    <a:pt x="30364" y="5285"/>
                    <a:pt x="29649" y="16014"/>
                  </a:cubicBezTo>
                  <a:cubicBezTo>
                    <a:pt x="28934" y="27995"/>
                    <a:pt x="22407" y="37830"/>
                    <a:pt x="10694" y="39619"/>
                  </a:cubicBezTo>
                  <a:cubicBezTo>
                    <a:pt x="-4685" y="42033"/>
                    <a:pt x="3541" y="27637"/>
                    <a:pt x="143" y="237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8" name="Freeform: Shape 57">
              <a:extLst>
                <a:ext uri="{FF2B5EF4-FFF2-40B4-BE49-F238E27FC236}">
                  <a16:creationId xmlns:a16="http://schemas.microsoft.com/office/drawing/2014/main" id="{F8F1D6AF-B071-BC5D-3955-D15E3E63E96F}"/>
                </a:ext>
              </a:extLst>
            </p:cNvPr>
            <p:cNvSpPr/>
            <p:nvPr/>
          </p:nvSpPr>
          <p:spPr>
            <a:xfrm>
              <a:off x="5071329" y="2353475"/>
              <a:ext cx="51296" cy="53176"/>
            </a:xfrm>
            <a:custGeom>
              <a:avLst/>
              <a:gdLst>
                <a:gd name="connsiteX0" fmla="*/ 11144 w 35187"/>
                <a:gd name="connsiteY0" fmla="*/ 0 h 36476"/>
                <a:gd name="connsiteX1" fmla="*/ 35106 w 35187"/>
                <a:gd name="connsiteY1" fmla="*/ 27718 h 36476"/>
                <a:gd name="connsiteX2" fmla="*/ 23840 w 35187"/>
                <a:gd name="connsiteY2" fmla="*/ 36391 h 36476"/>
                <a:gd name="connsiteX3" fmla="*/ 772 w 35187"/>
                <a:gd name="connsiteY3" fmla="*/ 9031 h 36476"/>
                <a:gd name="connsiteX4" fmla="*/ 11144 w 35187"/>
                <a:gd name="connsiteY4" fmla="*/ 89 h 36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87" h="36476">
                  <a:moveTo>
                    <a:pt x="11144" y="0"/>
                  </a:moveTo>
                  <a:cubicBezTo>
                    <a:pt x="19996" y="7242"/>
                    <a:pt x="32334" y="13769"/>
                    <a:pt x="35106" y="27718"/>
                  </a:cubicBezTo>
                  <a:cubicBezTo>
                    <a:pt x="36000" y="32188"/>
                    <a:pt x="29384" y="37195"/>
                    <a:pt x="23840" y="36391"/>
                  </a:cubicBezTo>
                  <a:cubicBezTo>
                    <a:pt x="8551" y="34155"/>
                    <a:pt x="5064" y="21012"/>
                    <a:pt x="772" y="9031"/>
                  </a:cubicBezTo>
                  <a:cubicBezTo>
                    <a:pt x="-2089" y="1073"/>
                    <a:pt x="3365" y="536"/>
                    <a:pt x="11144"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9" name="Freeform: Shape 58">
              <a:extLst>
                <a:ext uri="{FF2B5EF4-FFF2-40B4-BE49-F238E27FC236}">
                  <a16:creationId xmlns:a16="http://schemas.microsoft.com/office/drawing/2014/main" id="{52DE4E51-5713-8E12-5B2B-6364F6731206}"/>
                </a:ext>
              </a:extLst>
            </p:cNvPr>
            <p:cNvSpPr/>
            <p:nvPr/>
          </p:nvSpPr>
          <p:spPr>
            <a:xfrm>
              <a:off x="5739566" y="2058762"/>
              <a:ext cx="69605" cy="40408"/>
            </a:xfrm>
            <a:custGeom>
              <a:avLst/>
              <a:gdLst>
                <a:gd name="connsiteX0" fmla="*/ 41398 w 47745"/>
                <a:gd name="connsiteY0" fmla="*/ 0 h 27717"/>
                <a:gd name="connsiteX1" fmla="*/ 47746 w 47745"/>
                <a:gd name="connsiteY1" fmla="*/ 27718 h 27717"/>
                <a:gd name="connsiteX2" fmla="*/ 0 w 47745"/>
                <a:gd name="connsiteY2" fmla="*/ 23605 h 27717"/>
                <a:gd name="connsiteX3" fmla="*/ 41398 w 47745"/>
                <a:gd name="connsiteY3" fmla="*/ 89 h 27717"/>
              </a:gdLst>
              <a:ahLst/>
              <a:cxnLst>
                <a:cxn ang="0">
                  <a:pos x="connsiteX0" y="connsiteY0"/>
                </a:cxn>
                <a:cxn ang="0">
                  <a:pos x="connsiteX1" y="connsiteY1"/>
                </a:cxn>
                <a:cxn ang="0">
                  <a:pos x="connsiteX2" y="connsiteY2"/>
                </a:cxn>
                <a:cxn ang="0">
                  <a:pos x="connsiteX3" y="connsiteY3"/>
                </a:cxn>
              </a:cxnLst>
              <a:rect l="l" t="t" r="r" b="b"/>
              <a:pathLst>
                <a:path w="47745" h="27717">
                  <a:moveTo>
                    <a:pt x="41398" y="0"/>
                  </a:moveTo>
                  <a:lnTo>
                    <a:pt x="47746" y="27718"/>
                  </a:lnTo>
                  <a:cubicBezTo>
                    <a:pt x="32635" y="23694"/>
                    <a:pt x="18687" y="14306"/>
                    <a:pt x="0" y="23605"/>
                  </a:cubicBezTo>
                  <a:cubicBezTo>
                    <a:pt x="7332" y="-5991"/>
                    <a:pt x="32367" y="15200"/>
                    <a:pt x="41398"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0" name="Freeform: Shape 59">
              <a:extLst>
                <a:ext uri="{FF2B5EF4-FFF2-40B4-BE49-F238E27FC236}">
                  <a16:creationId xmlns:a16="http://schemas.microsoft.com/office/drawing/2014/main" id="{E53D574D-7C2E-48F3-D483-A17890E8D091}"/>
                </a:ext>
              </a:extLst>
            </p:cNvPr>
            <p:cNvSpPr/>
            <p:nvPr/>
          </p:nvSpPr>
          <p:spPr>
            <a:xfrm>
              <a:off x="5055770" y="2559398"/>
              <a:ext cx="40796" cy="43592"/>
            </a:xfrm>
            <a:custGeom>
              <a:avLst/>
              <a:gdLst>
                <a:gd name="connsiteX0" fmla="*/ 10908 w 27984"/>
                <a:gd name="connsiteY0" fmla="*/ 29433 h 29902"/>
                <a:gd name="connsiteX1" fmla="*/ 0 w 27984"/>
                <a:gd name="connsiteY1" fmla="*/ 20938 h 29902"/>
                <a:gd name="connsiteX2" fmla="*/ 17167 w 27984"/>
                <a:gd name="connsiteY2" fmla="*/ 374 h 29902"/>
                <a:gd name="connsiteX3" fmla="*/ 27807 w 27984"/>
                <a:gd name="connsiteY3" fmla="*/ 8421 h 29902"/>
                <a:gd name="connsiteX4" fmla="*/ 10908 w 27984"/>
                <a:gd name="connsiteY4" fmla="*/ 29522 h 2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4" h="29902">
                  <a:moveTo>
                    <a:pt x="10908" y="29433"/>
                  </a:moveTo>
                  <a:cubicBezTo>
                    <a:pt x="2414" y="31400"/>
                    <a:pt x="0" y="26929"/>
                    <a:pt x="0" y="20938"/>
                  </a:cubicBezTo>
                  <a:cubicBezTo>
                    <a:pt x="89" y="9673"/>
                    <a:pt x="6616" y="2967"/>
                    <a:pt x="17167" y="374"/>
                  </a:cubicBezTo>
                  <a:cubicBezTo>
                    <a:pt x="23515" y="-1236"/>
                    <a:pt x="29059" y="2520"/>
                    <a:pt x="27807" y="8421"/>
                  </a:cubicBezTo>
                  <a:cubicBezTo>
                    <a:pt x="25840" y="18077"/>
                    <a:pt x="19581" y="25856"/>
                    <a:pt x="10908" y="2952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1" name="Freeform: Shape 60">
              <a:extLst>
                <a:ext uri="{FF2B5EF4-FFF2-40B4-BE49-F238E27FC236}">
                  <a16:creationId xmlns:a16="http://schemas.microsoft.com/office/drawing/2014/main" id="{BBFAB91C-66E4-4527-CC2F-3BD83E8B265C}"/>
                </a:ext>
              </a:extLst>
            </p:cNvPr>
            <p:cNvSpPr/>
            <p:nvPr/>
          </p:nvSpPr>
          <p:spPr>
            <a:xfrm>
              <a:off x="13610533" y="7221635"/>
              <a:ext cx="1788051" cy="1396684"/>
            </a:xfrm>
            <a:custGeom>
              <a:avLst/>
              <a:gdLst>
                <a:gd name="connsiteX0" fmla="*/ 888214 w 1226520"/>
                <a:gd name="connsiteY0" fmla="*/ 945897 h 958060"/>
                <a:gd name="connsiteX1" fmla="*/ 885442 w 1226520"/>
                <a:gd name="connsiteY1" fmla="*/ 945450 h 958060"/>
                <a:gd name="connsiteX2" fmla="*/ 883118 w 1226520"/>
                <a:gd name="connsiteY2" fmla="*/ 947149 h 958060"/>
                <a:gd name="connsiteX3" fmla="*/ 824375 w 1226520"/>
                <a:gd name="connsiteY3" fmla="*/ 933916 h 958060"/>
                <a:gd name="connsiteX4" fmla="*/ 766794 w 1226520"/>
                <a:gd name="connsiteY4" fmla="*/ 901102 h 958060"/>
                <a:gd name="connsiteX5" fmla="*/ 761340 w 1226520"/>
                <a:gd name="connsiteY5" fmla="*/ 884561 h 958060"/>
                <a:gd name="connsiteX6" fmla="*/ 758031 w 1226520"/>
                <a:gd name="connsiteY6" fmla="*/ 841822 h 958060"/>
                <a:gd name="connsiteX7" fmla="*/ 749001 w 1226520"/>
                <a:gd name="connsiteY7" fmla="*/ 826533 h 958060"/>
                <a:gd name="connsiteX8" fmla="*/ 731119 w 1226520"/>
                <a:gd name="connsiteY8" fmla="*/ 802034 h 958060"/>
                <a:gd name="connsiteX9" fmla="*/ 720746 w 1226520"/>
                <a:gd name="connsiteY9" fmla="*/ 802749 h 958060"/>
                <a:gd name="connsiteX10" fmla="*/ 719137 w 1226520"/>
                <a:gd name="connsiteY10" fmla="*/ 807130 h 958060"/>
                <a:gd name="connsiteX11" fmla="*/ 691330 w 1226520"/>
                <a:gd name="connsiteY11" fmla="*/ 802839 h 958060"/>
                <a:gd name="connsiteX12" fmla="*/ 720210 w 1226520"/>
                <a:gd name="connsiteY12" fmla="*/ 744810 h 958060"/>
                <a:gd name="connsiteX13" fmla="*/ 725664 w 1226520"/>
                <a:gd name="connsiteY13" fmla="*/ 732114 h 958060"/>
                <a:gd name="connsiteX14" fmla="*/ 712074 w 1226520"/>
                <a:gd name="connsiteY14" fmla="*/ 736674 h 958060"/>
                <a:gd name="connsiteX15" fmla="*/ 672286 w 1226520"/>
                <a:gd name="connsiteY15" fmla="*/ 774495 h 958060"/>
                <a:gd name="connsiteX16" fmla="*/ 666563 w 1226520"/>
                <a:gd name="connsiteY16" fmla="*/ 796312 h 958060"/>
                <a:gd name="connsiteX17" fmla="*/ 647876 w 1226520"/>
                <a:gd name="connsiteY17" fmla="*/ 803375 h 958060"/>
                <a:gd name="connsiteX18" fmla="*/ 635626 w 1226520"/>
                <a:gd name="connsiteY18" fmla="*/ 790768 h 958060"/>
                <a:gd name="connsiteX19" fmla="*/ 612022 w 1226520"/>
                <a:gd name="connsiteY19" fmla="*/ 745347 h 958060"/>
                <a:gd name="connsiteX20" fmla="*/ 606389 w 1226520"/>
                <a:gd name="connsiteY20" fmla="*/ 711013 h 958060"/>
                <a:gd name="connsiteX21" fmla="*/ 582248 w 1226520"/>
                <a:gd name="connsiteY21" fmla="*/ 698674 h 958060"/>
                <a:gd name="connsiteX22" fmla="*/ 529943 w 1226520"/>
                <a:gd name="connsiteY22" fmla="*/ 678914 h 958060"/>
                <a:gd name="connsiteX23" fmla="*/ 482375 w 1226520"/>
                <a:gd name="connsiteY23" fmla="*/ 684189 h 958060"/>
                <a:gd name="connsiteX24" fmla="*/ 431768 w 1226520"/>
                <a:gd name="connsiteY24" fmla="*/ 705469 h 958060"/>
                <a:gd name="connsiteX25" fmla="*/ 377764 w 1226520"/>
                <a:gd name="connsiteY25" fmla="*/ 710298 h 958060"/>
                <a:gd name="connsiteX26" fmla="*/ 312672 w 1226520"/>
                <a:gd name="connsiteY26" fmla="*/ 736674 h 958060"/>
                <a:gd name="connsiteX27" fmla="*/ 300870 w 1226520"/>
                <a:gd name="connsiteY27" fmla="*/ 756702 h 958060"/>
                <a:gd name="connsiteX28" fmla="*/ 264837 w 1226520"/>
                <a:gd name="connsiteY28" fmla="*/ 768952 h 958060"/>
                <a:gd name="connsiteX29" fmla="*/ 124371 w 1226520"/>
                <a:gd name="connsiteY29" fmla="*/ 803286 h 958060"/>
                <a:gd name="connsiteX30" fmla="*/ 85298 w 1226520"/>
                <a:gd name="connsiteY30" fmla="*/ 803375 h 958060"/>
                <a:gd name="connsiteX31" fmla="*/ 25572 w 1226520"/>
                <a:gd name="connsiteY31" fmla="*/ 782900 h 958060"/>
                <a:gd name="connsiteX32" fmla="*/ 43901 w 1226520"/>
                <a:gd name="connsiteY32" fmla="*/ 756792 h 958060"/>
                <a:gd name="connsiteX33" fmla="*/ 52485 w 1226520"/>
                <a:gd name="connsiteY33" fmla="*/ 749192 h 958060"/>
                <a:gd name="connsiteX34" fmla="*/ 59011 w 1226520"/>
                <a:gd name="connsiteY34" fmla="*/ 686335 h 958060"/>
                <a:gd name="connsiteX35" fmla="*/ 47835 w 1226520"/>
                <a:gd name="connsiteY35" fmla="*/ 643239 h 958060"/>
                <a:gd name="connsiteX36" fmla="*/ 36838 w 1226520"/>
                <a:gd name="connsiteY36" fmla="*/ 600321 h 958060"/>
                <a:gd name="connsiteX37" fmla="*/ 0 w 1226520"/>
                <a:gd name="connsiteY37" fmla="*/ 507870 h 958060"/>
                <a:gd name="connsiteX38" fmla="*/ 13233 w 1226520"/>
                <a:gd name="connsiteY38" fmla="*/ 471300 h 958060"/>
                <a:gd name="connsiteX39" fmla="*/ 7510 w 1226520"/>
                <a:gd name="connsiteY39" fmla="*/ 457263 h 958060"/>
                <a:gd name="connsiteX40" fmla="*/ 26377 w 1226520"/>
                <a:gd name="connsiteY40" fmla="*/ 375451 h 958060"/>
                <a:gd name="connsiteX41" fmla="*/ 44974 w 1226520"/>
                <a:gd name="connsiteY41" fmla="*/ 370802 h 958060"/>
                <a:gd name="connsiteX42" fmla="*/ 205736 w 1226520"/>
                <a:gd name="connsiteY42" fmla="*/ 306426 h 958060"/>
                <a:gd name="connsiteX43" fmla="*/ 257774 w 1226520"/>
                <a:gd name="connsiteY43" fmla="*/ 279334 h 958060"/>
                <a:gd name="connsiteX44" fmla="*/ 273331 w 1226520"/>
                <a:gd name="connsiteY44" fmla="*/ 231052 h 958060"/>
                <a:gd name="connsiteX45" fmla="*/ 294522 w 1226520"/>
                <a:gd name="connsiteY45" fmla="*/ 194035 h 958060"/>
                <a:gd name="connsiteX46" fmla="*/ 325190 w 1226520"/>
                <a:gd name="connsiteY46" fmla="*/ 215852 h 958060"/>
                <a:gd name="connsiteX47" fmla="*/ 340390 w 1226520"/>
                <a:gd name="connsiteY47" fmla="*/ 187240 h 958060"/>
                <a:gd name="connsiteX48" fmla="*/ 362743 w 1226520"/>
                <a:gd name="connsiteY48" fmla="*/ 184915 h 958060"/>
                <a:gd name="connsiteX49" fmla="*/ 377138 w 1226520"/>
                <a:gd name="connsiteY49" fmla="*/ 137706 h 958060"/>
                <a:gd name="connsiteX50" fmla="*/ 393947 w 1226520"/>
                <a:gd name="connsiteY50" fmla="*/ 131805 h 958060"/>
                <a:gd name="connsiteX51" fmla="*/ 458145 w 1226520"/>
                <a:gd name="connsiteY51" fmla="*/ 131626 h 958060"/>
                <a:gd name="connsiteX52" fmla="*/ 457877 w 1226520"/>
                <a:gd name="connsiteY52" fmla="*/ 161311 h 958060"/>
                <a:gd name="connsiteX53" fmla="*/ 510272 w 1226520"/>
                <a:gd name="connsiteY53" fmla="*/ 145932 h 958060"/>
                <a:gd name="connsiteX54" fmla="*/ 517067 w 1226520"/>
                <a:gd name="connsiteY54" fmla="*/ 95057 h 958060"/>
                <a:gd name="connsiteX55" fmla="*/ 543086 w 1226520"/>
                <a:gd name="connsiteY55" fmla="*/ 49189 h 958060"/>
                <a:gd name="connsiteX56" fmla="*/ 592799 w 1226520"/>
                <a:gd name="connsiteY56" fmla="*/ 42304 h 958060"/>
                <a:gd name="connsiteX57" fmla="*/ 570178 w 1226520"/>
                <a:gd name="connsiteY57" fmla="*/ 30591 h 958060"/>
                <a:gd name="connsiteX58" fmla="*/ 595302 w 1226520"/>
                <a:gd name="connsiteY58" fmla="*/ 25137 h 958060"/>
                <a:gd name="connsiteX59" fmla="*/ 705010 w 1226520"/>
                <a:gd name="connsiteY59" fmla="*/ 39532 h 958060"/>
                <a:gd name="connsiteX60" fmla="*/ 724144 w 1226520"/>
                <a:gd name="connsiteY60" fmla="*/ 46775 h 958060"/>
                <a:gd name="connsiteX61" fmla="*/ 711448 w 1226520"/>
                <a:gd name="connsiteY61" fmla="*/ 78784 h 958060"/>
                <a:gd name="connsiteX62" fmla="*/ 711895 w 1226520"/>
                <a:gd name="connsiteY62" fmla="*/ 156661 h 958060"/>
                <a:gd name="connsiteX63" fmla="*/ 809264 w 1226520"/>
                <a:gd name="connsiteY63" fmla="*/ 213974 h 958060"/>
                <a:gd name="connsiteX64" fmla="*/ 850662 w 1226520"/>
                <a:gd name="connsiteY64" fmla="*/ 192694 h 958060"/>
                <a:gd name="connsiteX65" fmla="*/ 863269 w 1226520"/>
                <a:gd name="connsiteY65" fmla="*/ 126351 h 958060"/>
                <a:gd name="connsiteX66" fmla="*/ 871673 w 1226520"/>
                <a:gd name="connsiteY66" fmla="*/ 13603 h 958060"/>
                <a:gd name="connsiteX67" fmla="*/ 887767 w 1226520"/>
                <a:gd name="connsiteY67" fmla="*/ 191 h 958060"/>
                <a:gd name="connsiteX68" fmla="*/ 909047 w 1226520"/>
                <a:gd name="connsiteY68" fmla="*/ 11367 h 958060"/>
                <a:gd name="connsiteX69" fmla="*/ 933546 w 1226520"/>
                <a:gd name="connsiteY69" fmla="*/ 81913 h 958060"/>
                <a:gd name="connsiteX70" fmla="*/ 954289 w 1226520"/>
                <a:gd name="connsiteY70" fmla="*/ 97560 h 958060"/>
                <a:gd name="connsiteX71" fmla="*/ 987461 w 1226520"/>
                <a:gd name="connsiteY71" fmla="*/ 134666 h 958060"/>
                <a:gd name="connsiteX72" fmla="*/ 999085 w 1226520"/>
                <a:gd name="connsiteY72" fmla="*/ 167569 h 958060"/>
                <a:gd name="connsiteX73" fmla="*/ 1013748 w 1226520"/>
                <a:gd name="connsiteY73" fmla="*/ 219160 h 958060"/>
                <a:gd name="connsiteX74" fmla="*/ 1045847 w 1226520"/>
                <a:gd name="connsiteY74" fmla="*/ 262435 h 958060"/>
                <a:gd name="connsiteX75" fmla="*/ 1113621 w 1226520"/>
                <a:gd name="connsiteY75" fmla="*/ 343621 h 958060"/>
                <a:gd name="connsiteX76" fmla="*/ 1114068 w 1226520"/>
                <a:gd name="connsiteY76" fmla="*/ 346750 h 958060"/>
                <a:gd name="connsiteX77" fmla="*/ 1191230 w 1226520"/>
                <a:gd name="connsiteY77" fmla="*/ 423286 h 958060"/>
                <a:gd name="connsiteX78" fmla="*/ 1209649 w 1226520"/>
                <a:gd name="connsiteY78" fmla="*/ 451362 h 958060"/>
                <a:gd name="connsiteX79" fmla="*/ 1210006 w 1226520"/>
                <a:gd name="connsiteY79" fmla="*/ 625088 h 958060"/>
                <a:gd name="connsiteX80" fmla="*/ 1203927 w 1226520"/>
                <a:gd name="connsiteY80" fmla="*/ 665413 h 958060"/>
                <a:gd name="connsiteX81" fmla="*/ 1158774 w 1226520"/>
                <a:gd name="connsiteY81" fmla="*/ 717898 h 958060"/>
                <a:gd name="connsiteX82" fmla="*/ 1144826 w 1226520"/>
                <a:gd name="connsiteY82" fmla="*/ 743201 h 958060"/>
                <a:gd name="connsiteX83" fmla="*/ 1123546 w 1226520"/>
                <a:gd name="connsiteY83" fmla="*/ 788533 h 958060"/>
                <a:gd name="connsiteX84" fmla="*/ 1092341 w 1226520"/>
                <a:gd name="connsiteY84" fmla="*/ 854340 h 958060"/>
                <a:gd name="connsiteX85" fmla="*/ 1078661 w 1226520"/>
                <a:gd name="connsiteY85" fmla="*/ 900655 h 958060"/>
                <a:gd name="connsiteX86" fmla="*/ 975301 w 1226520"/>
                <a:gd name="connsiteY86" fmla="*/ 951619 h 958060"/>
                <a:gd name="connsiteX87" fmla="*/ 932473 w 1226520"/>
                <a:gd name="connsiteY87" fmla="*/ 937671 h 958060"/>
                <a:gd name="connsiteX88" fmla="*/ 909763 w 1226520"/>
                <a:gd name="connsiteY88" fmla="*/ 935168 h 958060"/>
                <a:gd name="connsiteX89" fmla="*/ 888393 w 1226520"/>
                <a:gd name="connsiteY89" fmla="*/ 946255 h 95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26520" h="958060">
                  <a:moveTo>
                    <a:pt x="888214" y="945897"/>
                  </a:moveTo>
                  <a:lnTo>
                    <a:pt x="885442" y="945450"/>
                  </a:lnTo>
                  <a:lnTo>
                    <a:pt x="883118" y="947149"/>
                  </a:lnTo>
                  <a:cubicBezTo>
                    <a:pt x="860765" y="955107"/>
                    <a:pt x="845833" y="929892"/>
                    <a:pt x="824375" y="933916"/>
                  </a:cubicBezTo>
                  <a:cubicBezTo>
                    <a:pt x="798803" y="934095"/>
                    <a:pt x="778596" y="924081"/>
                    <a:pt x="766794" y="901102"/>
                  </a:cubicBezTo>
                  <a:cubicBezTo>
                    <a:pt x="764290" y="896274"/>
                    <a:pt x="755259" y="889031"/>
                    <a:pt x="761340" y="884561"/>
                  </a:cubicBezTo>
                  <a:cubicBezTo>
                    <a:pt x="784140" y="867662"/>
                    <a:pt x="762144" y="855770"/>
                    <a:pt x="758031" y="841822"/>
                  </a:cubicBezTo>
                  <a:cubicBezTo>
                    <a:pt x="754008" y="837173"/>
                    <a:pt x="756601" y="826443"/>
                    <a:pt x="749001" y="826533"/>
                  </a:cubicBezTo>
                  <a:cubicBezTo>
                    <a:pt x="729777" y="826801"/>
                    <a:pt x="730403" y="817055"/>
                    <a:pt x="731119" y="802034"/>
                  </a:cubicBezTo>
                  <a:cubicBezTo>
                    <a:pt x="731565" y="792556"/>
                    <a:pt x="724413" y="801676"/>
                    <a:pt x="720746" y="802749"/>
                  </a:cubicBezTo>
                  <a:cubicBezTo>
                    <a:pt x="718958" y="803733"/>
                    <a:pt x="718422" y="805253"/>
                    <a:pt x="719137" y="807130"/>
                  </a:cubicBezTo>
                  <a:cubicBezTo>
                    <a:pt x="708408" y="814820"/>
                    <a:pt x="698573" y="817055"/>
                    <a:pt x="691330" y="802839"/>
                  </a:cubicBezTo>
                  <a:cubicBezTo>
                    <a:pt x="704563" y="785314"/>
                    <a:pt x="722892" y="770203"/>
                    <a:pt x="720210" y="744810"/>
                  </a:cubicBezTo>
                  <a:cubicBezTo>
                    <a:pt x="721819" y="740519"/>
                    <a:pt x="723697" y="736316"/>
                    <a:pt x="725664" y="732114"/>
                  </a:cubicBezTo>
                  <a:cubicBezTo>
                    <a:pt x="721015" y="733455"/>
                    <a:pt x="716455" y="734886"/>
                    <a:pt x="712074" y="736674"/>
                  </a:cubicBezTo>
                  <a:cubicBezTo>
                    <a:pt x="697053" y="747314"/>
                    <a:pt x="690257" y="766180"/>
                    <a:pt x="672286" y="774495"/>
                  </a:cubicBezTo>
                  <a:cubicBezTo>
                    <a:pt x="666295" y="777267"/>
                    <a:pt x="653151" y="785135"/>
                    <a:pt x="666563" y="796312"/>
                  </a:cubicBezTo>
                  <a:cubicBezTo>
                    <a:pt x="666027" y="813657"/>
                    <a:pt x="655029" y="803375"/>
                    <a:pt x="647876" y="803375"/>
                  </a:cubicBezTo>
                  <a:cubicBezTo>
                    <a:pt x="641617" y="801319"/>
                    <a:pt x="632229" y="802481"/>
                    <a:pt x="635626" y="790768"/>
                  </a:cubicBezTo>
                  <a:cubicBezTo>
                    <a:pt x="643584" y="763229"/>
                    <a:pt x="640902" y="757775"/>
                    <a:pt x="612022" y="745347"/>
                  </a:cubicBezTo>
                  <a:cubicBezTo>
                    <a:pt x="591636" y="736585"/>
                    <a:pt x="621857" y="720222"/>
                    <a:pt x="606389" y="711013"/>
                  </a:cubicBezTo>
                  <a:cubicBezTo>
                    <a:pt x="599594" y="704396"/>
                    <a:pt x="586540" y="710208"/>
                    <a:pt x="582248" y="698674"/>
                  </a:cubicBezTo>
                  <a:cubicBezTo>
                    <a:pt x="561684" y="700373"/>
                    <a:pt x="547914" y="684100"/>
                    <a:pt x="529943" y="678914"/>
                  </a:cubicBezTo>
                  <a:cubicBezTo>
                    <a:pt x="514653" y="685620"/>
                    <a:pt x="497665" y="677305"/>
                    <a:pt x="482375" y="684189"/>
                  </a:cubicBezTo>
                  <a:cubicBezTo>
                    <a:pt x="465208" y="690538"/>
                    <a:pt x="446521" y="693488"/>
                    <a:pt x="431768" y="705469"/>
                  </a:cubicBezTo>
                  <a:cubicBezTo>
                    <a:pt x="414154" y="711371"/>
                    <a:pt x="395289" y="703413"/>
                    <a:pt x="377764" y="710298"/>
                  </a:cubicBezTo>
                  <a:cubicBezTo>
                    <a:pt x="354428" y="715126"/>
                    <a:pt x="331896" y="721742"/>
                    <a:pt x="312672" y="736674"/>
                  </a:cubicBezTo>
                  <a:cubicBezTo>
                    <a:pt x="312851" y="745794"/>
                    <a:pt x="308738" y="752321"/>
                    <a:pt x="300870" y="756702"/>
                  </a:cubicBezTo>
                  <a:cubicBezTo>
                    <a:pt x="291214" y="767879"/>
                    <a:pt x="279679" y="769041"/>
                    <a:pt x="264837" y="768952"/>
                  </a:cubicBezTo>
                  <a:cubicBezTo>
                    <a:pt x="215571" y="768773"/>
                    <a:pt x="165501" y="768683"/>
                    <a:pt x="124371" y="803286"/>
                  </a:cubicBezTo>
                  <a:cubicBezTo>
                    <a:pt x="111407" y="807220"/>
                    <a:pt x="98353" y="807130"/>
                    <a:pt x="85298" y="803375"/>
                  </a:cubicBezTo>
                  <a:cubicBezTo>
                    <a:pt x="64018" y="800424"/>
                    <a:pt x="44706" y="792020"/>
                    <a:pt x="25572" y="782900"/>
                  </a:cubicBezTo>
                  <a:cubicBezTo>
                    <a:pt x="16004" y="763229"/>
                    <a:pt x="32009" y="761441"/>
                    <a:pt x="43901" y="756792"/>
                  </a:cubicBezTo>
                  <a:lnTo>
                    <a:pt x="52485" y="749192"/>
                  </a:lnTo>
                  <a:cubicBezTo>
                    <a:pt x="54094" y="728180"/>
                    <a:pt x="63304" y="707973"/>
                    <a:pt x="59011" y="686335"/>
                  </a:cubicBezTo>
                  <a:cubicBezTo>
                    <a:pt x="46136" y="674533"/>
                    <a:pt x="33529" y="665324"/>
                    <a:pt x="47835" y="643239"/>
                  </a:cubicBezTo>
                  <a:cubicBezTo>
                    <a:pt x="53289" y="634745"/>
                    <a:pt x="42202" y="614538"/>
                    <a:pt x="36838" y="600321"/>
                  </a:cubicBezTo>
                  <a:cubicBezTo>
                    <a:pt x="25125" y="569296"/>
                    <a:pt x="12339" y="538627"/>
                    <a:pt x="0" y="507870"/>
                  </a:cubicBezTo>
                  <a:cubicBezTo>
                    <a:pt x="7421" y="496783"/>
                    <a:pt x="23605" y="488825"/>
                    <a:pt x="13233" y="471300"/>
                  </a:cubicBezTo>
                  <a:cubicBezTo>
                    <a:pt x="11176" y="466562"/>
                    <a:pt x="5990" y="460303"/>
                    <a:pt x="7510" y="457263"/>
                  </a:cubicBezTo>
                  <a:cubicBezTo>
                    <a:pt x="20297" y="431333"/>
                    <a:pt x="5633" y="399235"/>
                    <a:pt x="26377" y="375451"/>
                  </a:cubicBezTo>
                  <a:cubicBezTo>
                    <a:pt x="32367" y="372948"/>
                    <a:pt x="39252" y="374468"/>
                    <a:pt x="44974" y="370802"/>
                  </a:cubicBezTo>
                  <a:cubicBezTo>
                    <a:pt x="95670" y="342190"/>
                    <a:pt x="142880" y="304995"/>
                    <a:pt x="205736" y="306426"/>
                  </a:cubicBezTo>
                  <a:cubicBezTo>
                    <a:pt x="227553" y="306873"/>
                    <a:pt x="246776" y="299273"/>
                    <a:pt x="257774" y="279334"/>
                  </a:cubicBezTo>
                  <a:cubicBezTo>
                    <a:pt x="265731" y="264849"/>
                    <a:pt x="291214" y="257607"/>
                    <a:pt x="273331" y="231052"/>
                  </a:cubicBezTo>
                  <a:cubicBezTo>
                    <a:pt x="265910" y="220143"/>
                    <a:pt x="286832" y="206553"/>
                    <a:pt x="294522" y="194035"/>
                  </a:cubicBezTo>
                  <a:cubicBezTo>
                    <a:pt x="315891" y="184647"/>
                    <a:pt x="316964" y="206285"/>
                    <a:pt x="325190" y="215852"/>
                  </a:cubicBezTo>
                  <a:cubicBezTo>
                    <a:pt x="322597" y="201546"/>
                    <a:pt x="303910" y="180445"/>
                    <a:pt x="340390" y="187240"/>
                  </a:cubicBezTo>
                  <a:cubicBezTo>
                    <a:pt x="347811" y="189922"/>
                    <a:pt x="355142" y="190369"/>
                    <a:pt x="362743" y="184915"/>
                  </a:cubicBezTo>
                  <a:cubicBezTo>
                    <a:pt x="329660" y="157824"/>
                    <a:pt x="369627" y="152727"/>
                    <a:pt x="377138" y="137706"/>
                  </a:cubicBezTo>
                  <a:cubicBezTo>
                    <a:pt x="380089" y="131716"/>
                    <a:pt x="388314" y="137438"/>
                    <a:pt x="393947" y="131805"/>
                  </a:cubicBezTo>
                  <a:cubicBezTo>
                    <a:pt x="427834" y="98007"/>
                    <a:pt x="427477" y="98991"/>
                    <a:pt x="458145" y="131626"/>
                  </a:cubicBezTo>
                  <a:cubicBezTo>
                    <a:pt x="469321" y="143518"/>
                    <a:pt x="455016" y="151565"/>
                    <a:pt x="457877" y="161311"/>
                  </a:cubicBezTo>
                  <a:cubicBezTo>
                    <a:pt x="474328" y="150223"/>
                    <a:pt x="478978" y="148793"/>
                    <a:pt x="510272" y="145932"/>
                  </a:cubicBezTo>
                  <a:cubicBezTo>
                    <a:pt x="497754" y="126708"/>
                    <a:pt x="481303" y="106144"/>
                    <a:pt x="517067" y="95057"/>
                  </a:cubicBezTo>
                  <a:cubicBezTo>
                    <a:pt x="502583" y="66624"/>
                    <a:pt x="527349" y="60454"/>
                    <a:pt x="543086" y="49189"/>
                  </a:cubicBezTo>
                  <a:cubicBezTo>
                    <a:pt x="560611" y="54553"/>
                    <a:pt x="576436" y="48116"/>
                    <a:pt x="592799" y="42304"/>
                  </a:cubicBezTo>
                  <a:cubicBezTo>
                    <a:pt x="589222" y="29697"/>
                    <a:pt x="574290" y="40784"/>
                    <a:pt x="570178" y="30591"/>
                  </a:cubicBezTo>
                  <a:cubicBezTo>
                    <a:pt x="576973" y="21381"/>
                    <a:pt x="587166" y="28087"/>
                    <a:pt x="595302" y="25137"/>
                  </a:cubicBezTo>
                  <a:cubicBezTo>
                    <a:pt x="631693" y="30859"/>
                    <a:pt x="664685" y="61527"/>
                    <a:pt x="705010" y="39532"/>
                  </a:cubicBezTo>
                  <a:cubicBezTo>
                    <a:pt x="712700" y="35330"/>
                    <a:pt x="723071" y="40337"/>
                    <a:pt x="724144" y="46775"/>
                  </a:cubicBezTo>
                  <a:cubicBezTo>
                    <a:pt x="726200" y="58577"/>
                    <a:pt x="720121" y="70826"/>
                    <a:pt x="711448" y="78784"/>
                  </a:cubicBezTo>
                  <a:cubicBezTo>
                    <a:pt x="679885" y="107485"/>
                    <a:pt x="683552" y="127871"/>
                    <a:pt x="711895" y="156661"/>
                  </a:cubicBezTo>
                  <a:cubicBezTo>
                    <a:pt x="739970" y="185183"/>
                    <a:pt x="781189" y="185988"/>
                    <a:pt x="809264" y="213974"/>
                  </a:cubicBezTo>
                  <a:cubicBezTo>
                    <a:pt x="821067" y="225776"/>
                    <a:pt x="841273" y="208788"/>
                    <a:pt x="850662" y="192694"/>
                  </a:cubicBezTo>
                  <a:cubicBezTo>
                    <a:pt x="862553" y="172219"/>
                    <a:pt x="866577" y="148972"/>
                    <a:pt x="863269" y="126351"/>
                  </a:cubicBezTo>
                  <a:cubicBezTo>
                    <a:pt x="857546" y="87814"/>
                    <a:pt x="875071" y="51692"/>
                    <a:pt x="871673" y="13603"/>
                  </a:cubicBezTo>
                  <a:cubicBezTo>
                    <a:pt x="870958" y="5109"/>
                    <a:pt x="879988" y="996"/>
                    <a:pt x="887767" y="191"/>
                  </a:cubicBezTo>
                  <a:cubicBezTo>
                    <a:pt x="896798" y="-793"/>
                    <a:pt x="905560" y="1890"/>
                    <a:pt x="909047" y="11367"/>
                  </a:cubicBezTo>
                  <a:cubicBezTo>
                    <a:pt x="917720" y="34704"/>
                    <a:pt x="927734" y="57772"/>
                    <a:pt x="933546" y="81913"/>
                  </a:cubicBezTo>
                  <a:cubicBezTo>
                    <a:pt x="936854" y="95772"/>
                    <a:pt x="941861" y="96398"/>
                    <a:pt x="954289" y="97560"/>
                  </a:cubicBezTo>
                  <a:cubicBezTo>
                    <a:pt x="974497" y="99438"/>
                    <a:pt x="993004" y="106948"/>
                    <a:pt x="987461" y="134666"/>
                  </a:cubicBezTo>
                  <a:cubicBezTo>
                    <a:pt x="984869" y="147273"/>
                    <a:pt x="991931" y="157913"/>
                    <a:pt x="999085" y="167569"/>
                  </a:cubicBezTo>
                  <a:cubicBezTo>
                    <a:pt x="1010530" y="183038"/>
                    <a:pt x="1016788" y="199042"/>
                    <a:pt x="1013748" y="219160"/>
                  </a:cubicBezTo>
                  <a:cubicBezTo>
                    <a:pt x="1010082" y="242854"/>
                    <a:pt x="1026981" y="256534"/>
                    <a:pt x="1045847" y="262435"/>
                  </a:cubicBezTo>
                  <a:cubicBezTo>
                    <a:pt x="1086798" y="275310"/>
                    <a:pt x="1110134" y="300524"/>
                    <a:pt x="1113621" y="343621"/>
                  </a:cubicBezTo>
                  <a:cubicBezTo>
                    <a:pt x="1113621" y="344694"/>
                    <a:pt x="1113978" y="346750"/>
                    <a:pt x="1114068" y="346750"/>
                  </a:cubicBezTo>
                  <a:cubicBezTo>
                    <a:pt x="1168162" y="343710"/>
                    <a:pt x="1145183" y="418279"/>
                    <a:pt x="1191230" y="423286"/>
                  </a:cubicBezTo>
                  <a:cubicBezTo>
                    <a:pt x="1200708" y="430439"/>
                    <a:pt x="1205089" y="440990"/>
                    <a:pt x="1209649" y="451362"/>
                  </a:cubicBezTo>
                  <a:cubicBezTo>
                    <a:pt x="1228157" y="509211"/>
                    <a:pt x="1235667" y="567150"/>
                    <a:pt x="1210006" y="625088"/>
                  </a:cubicBezTo>
                  <a:cubicBezTo>
                    <a:pt x="1202496" y="637696"/>
                    <a:pt x="1211795" y="652806"/>
                    <a:pt x="1203927" y="665413"/>
                  </a:cubicBezTo>
                  <a:cubicBezTo>
                    <a:pt x="1192750" y="686156"/>
                    <a:pt x="1182826" y="707168"/>
                    <a:pt x="1158774" y="717898"/>
                  </a:cubicBezTo>
                  <a:cubicBezTo>
                    <a:pt x="1151799" y="721027"/>
                    <a:pt x="1149386" y="734439"/>
                    <a:pt x="1144826" y="743201"/>
                  </a:cubicBezTo>
                  <a:cubicBezTo>
                    <a:pt x="1132129" y="755719"/>
                    <a:pt x="1123278" y="771097"/>
                    <a:pt x="1123546" y="788533"/>
                  </a:cubicBezTo>
                  <a:cubicBezTo>
                    <a:pt x="1123992" y="816340"/>
                    <a:pt x="1091446" y="827159"/>
                    <a:pt x="1092341" y="854340"/>
                  </a:cubicBezTo>
                  <a:cubicBezTo>
                    <a:pt x="1085367" y="869093"/>
                    <a:pt x="1084294" y="885544"/>
                    <a:pt x="1078661" y="900655"/>
                  </a:cubicBezTo>
                  <a:cubicBezTo>
                    <a:pt x="1042092" y="913173"/>
                    <a:pt x="1004449" y="921130"/>
                    <a:pt x="975301" y="951619"/>
                  </a:cubicBezTo>
                  <a:cubicBezTo>
                    <a:pt x="962963" y="964495"/>
                    <a:pt x="941146" y="957163"/>
                    <a:pt x="932473" y="937671"/>
                  </a:cubicBezTo>
                  <a:cubicBezTo>
                    <a:pt x="925320" y="921488"/>
                    <a:pt x="918435" y="925511"/>
                    <a:pt x="909763" y="935168"/>
                  </a:cubicBezTo>
                  <a:cubicBezTo>
                    <a:pt x="905829" y="945003"/>
                    <a:pt x="895278" y="942142"/>
                    <a:pt x="888393" y="94625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2" name="Freeform: Shape 61">
              <a:extLst>
                <a:ext uri="{FF2B5EF4-FFF2-40B4-BE49-F238E27FC236}">
                  <a16:creationId xmlns:a16="http://schemas.microsoft.com/office/drawing/2014/main" id="{EE80D6E5-CF93-5516-232D-F332E3C4F256}"/>
                </a:ext>
              </a:extLst>
            </p:cNvPr>
            <p:cNvSpPr/>
            <p:nvPr/>
          </p:nvSpPr>
          <p:spPr>
            <a:xfrm>
              <a:off x="14405125" y="6808413"/>
              <a:ext cx="876616" cy="389396"/>
            </a:xfrm>
            <a:custGeom>
              <a:avLst/>
              <a:gdLst>
                <a:gd name="connsiteX0" fmla="*/ 520822 w 601318"/>
                <a:gd name="connsiteY0" fmla="*/ 191012 h 267108"/>
                <a:gd name="connsiteX1" fmla="*/ 547109 w 601318"/>
                <a:gd name="connsiteY1" fmla="*/ 202993 h 267108"/>
                <a:gd name="connsiteX2" fmla="*/ 585020 w 601318"/>
                <a:gd name="connsiteY2" fmla="*/ 232320 h 267108"/>
                <a:gd name="connsiteX3" fmla="*/ 601113 w 601318"/>
                <a:gd name="connsiteY3" fmla="*/ 254583 h 267108"/>
                <a:gd name="connsiteX4" fmla="*/ 521359 w 601318"/>
                <a:gd name="connsiteY4" fmla="*/ 255746 h 267108"/>
                <a:gd name="connsiteX5" fmla="*/ 461542 w 601318"/>
                <a:gd name="connsiteY5" fmla="*/ 198612 h 267108"/>
                <a:gd name="connsiteX6" fmla="*/ 382592 w 601318"/>
                <a:gd name="connsiteY6" fmla="*/ 180104 h 267108"/>
                <a:gd name="connsiteX7" fmla="*/ 346380 w 601318"/>
                <a:gd name="connsiteY7" fmla="*/ 197450 h 267108"/>
                <a:gd name="connsiteX8" fmla="*/ 352997 w 601318"/>
                <a:gd name="connsiteY8" fmla="*/ 229191 h 267108"/>
                <a:gd name="connsiteX9" fmla="*/ 278517 w 601318"/>
                <a:gd name="connsiteY9" fmla="*/ 220428 h 267108"/>
                <a:gd name="connsiteX10" fmla="*/ 260277 w 601318"/>
                <a:gd name="connsiteY10" fmla="*/ 208984 h 267108"/>
                <a:gd name="connsiteX11" fmla="*/ 227641 w 601318"/>
                <a:gd name="connsiteY11" fmla="*/ 176616 h 267108"/>
                <a:gd name="connsiteX12" fmla="*/ 151463 w 601318"/>
                <a:gd name="connsiteY12" fmla="*/ 107144 h 267108"/>
                <a:gd name="connsiteX13" fmla="*/ 97101 w 601318"/>
                <a:gd name="connsiteY13" fmla="*/ 86847 h 267108"/>
                <a:gd name="connsiteX14" fmla="*/ 76536 w 601318"/>
                <a:gd name="connsiteY14" fmla="*/ 40800 h 267108"/>
                <a:gd name="connsiteX15" fmla="*/ 61515 w 601318"/>
                <a:gd name="connsiteY15" fmla="*/ 65299 h 267108"/>
                <a:gd name="connsiteX16" fmla="*/ 47924 w 601318"/>
                <a:gd name="connsiteY16" fmla="*/ 90156 h 267108"/>
                <a:gd name="connsiteX17" fmla="*/ 33618 w 601318"/>
                <a:gd name="connsiteY17" fmla="*/ 70753 h 267108"/>
                <a:gd name="connsiteX18" fmla="*/ 0 w 601318"/>
                <a:gd name="connsiteY18" fmla="*/ 42678 h 267108"/>
                <a:gd name="connsiteX19" fmla="*/ 23694 w 601318"/>
                <a:gd name="connsiteY19" fmla="*/ 31949 h 267108"/>
                <a:gd name="connsiteX20" fmla="*/ 39520 w 601318"/>
                <a:gd name="connsiteY20" fmla="*/ 24706 h 267108"/>
                <a:gd name="connsiteX21" fmla="*/ 63661 w 601318"/>
                <a:gd name="connsiteY21" fmla="*/ 19610 h 267108"/>
                <a:gd name="connsiteX22" fmla="*/ 69830 w 601318"/>
                <a:gd name="connsiteY22" fmla="*/ 19789 h 267108"/>
                <a:gd name="connsiteX23" fmla="*/ 89501 w 601318"/>
                <a:gd name="connsiteY23" fmla="*/ 39638 h 267108"/>
                <a:gd name="connsiteX24" fmla="*/ 149764 w 601318"/>
                <a:gd name="connsiteY24" fmla="*/ 13172 h 267108"/>
                <a:gd name="connsiteX25" fmla="*/ 187496 w 601318"/>
                <a:gd name="connsiteY25" fmla="*/ 208 h 267108"/>
                <a:gd name="connsiteX26" fmla="*/ 213604 w 601318"/>
                <a:gd name="connsiteY26" fmla="*/ 13977 h 267108"/>
                <a:gd name="connsiteX27" fmla="*/ 364441 w 601318"/>
                <a:gd name="connsiteY27" fmla="*/ 64405 h 267108"/>
                <a:gd name="connsiteX28" fmla="*/ 428192 w 601318"/>
                <a:gd name="connsiteY28" fmla="*/ 88546 h 267108"/>
                <a:gd name="connsiteX29" fmla="*/ 469053 w 601318"/>
                <a:gd name="connsiteY29" fmla="*/ 110720 h 267108"/>
                <a:gd name="connsiteX30" fmla="*/ 475670 w 601318"/>
                <a:gd name="connsiteY30" fmla="*/ 111614 h 267108"/>
                <a:gd name="connsiteX31" fmla="*/ 498290 w 601318"/>
                <a:gd name="connsiteY31" fmla="*/ 127887 h 267108"/>
                <a:gd name="connsiteX32" fmla="*/ 515905 w 601318"/>
                <a:gd name="connsiteY32" fmla="*/ 179388 h 267108"/>
                <a:gd name="connsiteX33" fmla="*/ 521001 w 601318"/>
                <a:gd name="connsiteY33" fmla="*/ 190922 h 267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01318" h="267108">
                  <a:moveTo>
                    <a:pt x="520822" y="191012"/>
                  </a:moveTo>
                  <a:cubicBezTo>
                    <a:pt x="526365" y="202099"/>
                    <a:pt x="534234" y="208090"/>
                    <a:pt x="547109" y="202993"/>
                  </a:cubicBezTo>
                  <a:cubicBezTo>
                    <a:pt x="559805" y="212739"/>
                    <a:pt x="571698" y="223379"/>
                    <a:pt x="585020" y="232320"/>
                  </a:cubicBezTo>
                  <a:cubicBezTo>
                    <a:pt x="592620" y="238132"/>
                    <a:pt x="602902" y="242066"/>
                    <a:pt x="601113" y="254583"/>
                  </a:cubicBezTo>
                  <a:cubicBezTo>
                    <a:pt x="574827" y="279619"/>
                    <a:pt x="548003" y="260127"/>
                    <a:pt x="521359" y="255746"/>
                  </a:cubicBezTo>
                  <a:cubicBezTo>
                    <a:pt x="494625" y="243943"/>
                    <a:pt x="470483" y="231247"/>
                    <a:pt x="461542" y="198612"/>
                  </a:cubicBezTo>
                  <a:cubicBezTo>
                    <a:pt x="454926" y="174471"/>
                    <a:pt x="404229" y="164188"/>
                    <a:pt x="382592" y="180104"/>
                  </a:cubicBezTo>
                  <a:cubicBezTo>
                    <a:pt x="373025" y="187167"/>
                    <a:pt x="365067" y="196377"/>
                    <a:pt x="346380" y="197450"/>
                  </a:cubicBezTo>
                  <a:cubicBezTo>
                    <a:pt x="372846" y="208447"/>
                    <a:pt x="371058" y="218282"/>
                    <a:pt x="352997" y="229191"/>
                  </a:cubicBezTo>
                  <a:cubicBezTo>
                    <a:pt x="325726" y="245732"/>
                    <a:pt x="301585" y="234913"/>
                    <a:pt x="278517" y="220428"/>
                  </a:cubicBezTo>
                  <a:cubicBezTo>
                    <a:pt x="272526" y="216673"/>
                    <a:pt x="269039" y="208805"/>
                    <a:pt x="260277" y="208984"/>
                  </a:cubicBezTo>
                  <a:cubicBezTo>
                    <a:pt x="243021" y="204602"/>
                    <a:pt x="219326" y="206748"/>
                    <a:pt x="227641" y="176616"/>
                  </a:cubicBezTo>
                  <a:cubicBezTo>
                    <a:pt x="219326" y="134772"/>
                    <a:pt x="195543" y="111614"/>
                    <a:pt x="151463" y="107144"/>
                  </a:cubicBezTo>
                  <a:cubicBezTo>
                    <a:pt x="132865" y="105266"/>
                    <a:pt x="115430" y="93106"/>
                    <a:pt x="97101" y="86847"/>
                  </a:cubicBezTo>
                  <a:cubicBezTo>
                    <a:pt x="74032" y="79068"/>
                    <a:pt x="61247" y="66909"/>
                    <a:pt x="76536" y="40800"/>
                  </a:cubicBezTo>
                  <a:cubicBezTo>
                    <a:pt x="58475" y="43930"/>
                    <a:pt x="58564" y="52692"/>
                    <a:pt x="61515" y="65299"/>
                  </a:cubicBezTo>
                  <a:cubicBezTo>
                    <a:pt x="64018" y="76118"/>
                    <a:pt x="62052" y="89083"/>
                    <a:pt x="47924" y="90156"/>
                  </a:cubicBezTo>
                  <a:cubicBezTo>
                    <a:pt x="36659" y="91050"/>
                    <a:pt x="33887" y="83182"/>
                    <a:pt x="33618" y="70753"/>
                  </a:cubicBezTo>
                  <a:cubicBezTo>
                    <a:pt x="33261" y="51977"/>
                    <a:pt x="11087" y="53407"/>
                    <a:pt x="0" y="42678"/>
                  </a:cubicBezTo>
                  <a:cubicBezTo>
                    <a:pt x="8136" y="39012"/>
                    <a:pt x="15915" y="35525"/>
                    <a:pt x="23694" y="31949"/>
                  </a:cubicBezTo>
                  <a:cubicBezTo>
                    <a:pt x="27985" y="27389"/>
                    <a:pt x="33708" y="25958"/>
                    <a:pt x="39520" y="24706"/>
                  </a:cubicBezTo>
                  <a:cubicBezTo>
                    <a:pt x="48014" y="25153"/>
                    <a:pt x="54362" y="15229"/>
                    <a:pt x="63661" y="19610"/>
                  </a:cubicBezTo>
                  <a:cubicBezTo>
                    <a:pt x="65717" y="20504"/>
                    <a:pt x="67774" y="20504"/>
                    <a:pt x="69830" y="19789"/>
                  </a:cubicBezTo>
                  <a:cubicBezTo>
                    <a:pt x="78056" y="24796"/>
                    <a:pt x="84762" y="31233"/>
                    <a:pt x="89501" y="39638"/>
                  </a:cubicBezTo>
                  <a:cubicBezTo>
                    <a:pt x="120706" y="57342"/>
                    <a:pt x="129825" y="22113"/>
                    <a:pt x="149764" y="13172"/>
                  </a:cubicBezTo>
                  <a:cubicBezTo>
                    <a:pt x="162192" y="7629"/>
                    <a:pt x="172654" y="-1491"/>
                    <a:pt x="187496" y="208"/>
                  </a:cubicBezTo>
                  <a:cubicBezTo>
                    <a:pt x="195364" y="6288"/>
                    <a:pt x="210206" y="-687"/>
                    <a:pt x="213604" y="13977"/>
                  </a:cubicBezTo>
                  <a:cubicBezTo>
                    <a:pt x="263943" y="30608"/>
                    <a:pt x="311063" y="56895"/>
                    <a:pt x="364441" y="64405"/>
                  </a:cubicBezTo>
                  <a:cubicBezTo>
                    <a:pt x="391354" y="57520"/>
                    <a:pt x="414065" y="62796"/>
                    <a:pt x="428192" y="88546"/>
                  </a:cubicBezTo>
                  <a:cubicBezTo>
                    <a:pt x="437312" y="105266"/>
                    <a:pt x="453317" y="107233"/>
                    <a:pt x="469053" y="110720"/>
                  </a:cubicBezTo>
                  <a:cubicBezTo>
                    <a:pt x="471289" y="110988"/>
                    <a:pt x="473434" y="111346"/>
                    <a:pt x="475670" y="111614"/>
                  </a:cubicBezTo>
                  <a:cubicBezTo>
                    <a:pt x="490422" y="107591"/>
                    <a:pt x="503208" y="116443"/>
                    <a:pt x="498290" y="127887"/>
                  </a:cubicBezTo>
                  <a:cubicBezTo>
                    <a:pt x="487382" y="153012"/>
                    <a:pt x="502493" y="164904"/>
                    <a:pt x="515905" y="179388"/>
                  </a:cubicBezTo>
                  <a:cubicBezTo>
                    <a:pt x="518855" y="182607"/>
                    <a:pt x="519124" y="187167"/>
                    <a:pt x="521001" y="19092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3" name="Freeform: Shape 62">
              <a:extLst>
                <a:ext uri="{FF2B5EF4-FFF2-40B4-BE49-F238E27FC236}">
                  <a16:creationId xmlns:a16="http://schemas.microsoft.com/office/drawing/2014/main" id="{9E8CFF43-0D4C-FBCC-EBE3-B3C943EF7D5F}"/>
                </a:ext>
              </a:extLst>
            </p:cNvPr>
            <p:cNvSpPr/>
            <p:nvPr/>
          </p:nvSpPr>
          <p:spPr>
            <a:xfrm>
              <a:off x="13831730" y="6750889"/>
              <a:ext cx="192498" cy="271041"/>
            </a:xfrm>
            <a:custGeom>
              <a:avLst/>
              <a:gdLst>
                <a:gd name="connsiteX0" fmla="*/ 37823 w 132045"/>
                <a:gd name="connsiteY0" fmla="*/ 6405 h 185922"/>
                <a:gd name="connsiteX1" fmla="*/ 35766 w 132045"/>
                <a:gd name="connsiteY1" fmla="*/ 35196 h 185922"/>
                <a:gd name="connsiteX2" fmla="*/ 68044 w 132045"/>
                <a:gd name="connsiteY2" fmla="*/ 43153 h 185922"/>
                <a:gd name="connsiteX3" fmla="*/ 121154 w 132045"/>
                <a:gd name="connsiteY3" fmla="*/ 27506 h 185922"/>
                <a:gd name="connsiteX4" fmla="*/ 111677 w 132045"/>
                <a:gd name="connsiteY4" fmla="*/ 40471 h 185922"/>
                <a:gd name="connsiteX5" fmla="*/ 103093 w 132045"/>
                <a:gd name="connsiteY5" fmla="*/ 89469 h 185922"/>
                <a:gd name="connsiteX6" fmla="*/ 127949 w 132045"/>
                <a:gd name="connsiteY6" fmla="*/ 132386 h 185922"/>
                <a:gd name="connsiteX7" fmla="*/ 127413 w 132045"/>
                <a:gd name="connsiteY7" fmla="*/ 154739 h 185922"/>
                <a:gd name="connsiteX8" fmla="*/ 99874 w 132045"/>
                <a:gd name="connsiteY8" fmla="*/ 170565 h 185922"/>
                <a:gd name="connsiteX9" fmla="*/ 85747 w 132045"/>
                <a:gd name="connsiteY9" fmla="*/ 147050 h 185922"/>
                <a:gd name="connsiteX10" fmla="*/ 63841 w 132045"/>
                <a:gd name="connsiteY10" fmla="*/ 89916 h 185922"/>
                <a:gd name="connsiteX11" fmla="*/ 49803 w 132045"/>
                <a:gd name="connsiteY11" fmla="*/ 85624 h 185922"/>
                <a:gd name="connsiteX12" fmla="*/ 45691 w 132045"/>
                <a:gd name="connsiteY12" fmla="*/ 98589 h 185922"/>
                <a:gd name="connsiteX13" fmla="*/ 51502 w 132045"/>
                <a:gd name="connsiteY13" fmla="*/ 171370 h 185922"/>
                <a:gd name="connsiteX14" fmla="*/ 35498 w 132045"/>
                <a:gd name="connsiteY14" fmla="*/ 185586 h 185922"/>
                <a:gd name="connsiteX15" fmla="*/ 24053 w 132045"/>
                <a:gd name="connsiteY15" fmla="*/ 169581 h 185922"/>
                <a:gd name="connsiteX16" fmla="*/ 6618 w 132045"/>
                <a:gd name="connsiteY16" fmla="*/ 125949 h 185922"/>
                <a:gd name="connsiteX17" fmla="*/ 627 w 132045"/>
                <a:gd name="connsiteY17" fmla="*/ 110123 h 185922"/>
                <a:gd name="connsiteX18" fmla="*/ 23159 w 132045"/>
                <a:gd name="connsiteY18" fmla="*/ 3991 h 185922"/>
                <a:gd name="connsiteX19" fmla="*/ 31921 w 132045"/>
                <a:gd name="connsiteY19" fmla="*/ 594 h 185922"/>
                <a:gd name="connsiteX20" fmla="*/ 37912 w 132045"/>
                <a:gd name="connsiteY20" fmla="*/ 6584 h 18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2045" h="185922">
                  <a:moveTo>
                    <a:pt x="37823" y="6405"/>
                  </a:moveTo>
                  <a:cubicBezTo>
                    <a:pt x="32994" y="15793"/>
                    <a:pt x="24142" y="25808"/>
                    <a:pt x="35766" y="35196"/>
                  </a:cubicBezTo>
                  <a:cubicBezTo>
                    <a:pt x="44618" y="42349"/>
                    <a:pt x="53738" y="49412"/>
                    <a:pt x="68044" y="43153"/>
                  </a:cubicBezTo>
                  <a:cubicBezTo>
                    <a:pt x="84495" y="35911"/>
                    <a:pt x="102824" y="32692"/>
                    <a:pt x="121154" y="27506"/>
                  </a:cubicBezTo>
                  <a:cubicBezTo>
                    <a:pt x="124015" y="37520"/>
                    <a:pt x="115521" y="36805"/>
                    <a:pt x="111677" y="40471"/>
                  </a:cubicBezTo>
                  <a:cubicBezTo>
                    <a:pt x="97102" y="54330"/>
                    <a:pt x="77611" y="67026"/>
                    <a:pt x="103093" y="89469"/>
                  </a:cubicBezTo>
                  <a:cubicBezTo>
                    <a:pt x="115253" y="100198"/>
                    <a:pt x="109888" y="122640"/>
                    <a:pt x="127949" y="132386"/>
                  </a:cubicBezTo>
                  <a:cubicBezTo>
                    <a:pt x="131615" y="134353"/>
                    <a:pt x="135191" y="152951"/>
                    <a:pt x="127413" y="154739"/>
                  </a:cubicBezTo>
                  <a:cubicBezTo>
                    <a:pt x="115432" y="157511"/>
                    <a:pt x="113554" y="177807"/>
                    <a:pt x="99874" y="170565"/>
                  </a:cubicBezTo>
                  <a:cubicBezTo>
                    <a:pt x="92453" y="166631"/>
                    <a:pt x="84853" y="158673"/>
                    <a:pt x="85747" y="147050"/>
                  </a:cubicBezTo>
                  <a:cubicBezTo>
                    <a:pt x="87267" y="124965"/>
                    <a:pt x="60801" y="113342"/>
                    <a:pt x="63841" y="89916"/>
                  </a:cubicBezTo>
                  <a:cubicBezTo>
                    <a:pt x="64378" y="85892"/>
                    <a:pt x="55347" y="84104"/>
                    <a:pt x="49803" y="85624"/>
                  </a:cubicBezTo>
                  <a:cubicBezTo>
                    <a:pt x="42204" y="87680"/>
                    <a:pt x="42919" y="94386"/>
                    <a:pt x="45691" y="98589"/>
                  </a:cubicBezTo>
                  <a:cubicBezTo>
                    <a:pt x="60980" y="121925"/>
                    <a:pt x="46048" y="147407"/>
                    <a:pt x="51502" y="171370"/>
                  </a:cubicBezTo>
                  <a:cubicBezTo>
                    <a:pt x="54453" y="184513"/>
                    <a:pt x="44170" y="184245"/>
                    <a:pt x="35498" y="185586"/>
                  </a:cubicBezTo>
                  <a:cubicBezTo>
                    <a:pt x="20745" y="187821"/>
                    <a:pt x="21997" y="178523"/>
                    <a:pt x="24053" y="169581"/>
                  </a:cubicBezTo>
                  <a:cubicBezTo>
                    <a:pt x="28255" y="150895"/>
                    <a:pt x="37644" y="130866"/>
                    <a:pt x="6618" y="125949"/>
                  </a:cubicBezTo>
                  <a:cubicBezTo>
                    <a:pt x="-2055" y="124607"/>
                    <a:pt x="91" y="113073"/>
                    <a:pt x="627" y="110123"/>
                  </a:cubicBezTo>
                  <a:cubicBezTo>
                    <a:pt x="7065" y="74537"/>
                    <a:pt x="15023" y="39219"/>
                    <a:pt x="23159" y="3991"/>
                  </a:cubicBezTo>
                  <a:cubicBezTo>
                    <a:pt x="23516" y="2292"/>
                    <a:pt x="28881" y="1756"/>
                    <a:pt x="31921" y="594"/>
                  </a:cubicBezTo>
                  <a:cubicBezTo>
                    <a:pt x="37644" y="-1195"/>
                    <a:pt x="39253" y="1130"/>
                    <a:pt x="37912" y="658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2" name="Freeform: Shape 191">
              <a:extLst>
                <a:ext uri="{FF2B5EF4-FFF2-40B4-BE49-F238E27FC236}">
                  <a16:creationId xmlns:a16="http://schemas.microsoft.com/office/drawing/2014/main" id="{69534930-98BB-4A60-4AC9-3D4A552E81F0}"/>
                </a:ext>
              </a:extLst>
            </p:cNvPr>
            <p:cNvSpPr/>
            <p:nvPr/>
          </p:nvSpPr>
          <p:spPr>
            <a:xfrm>
              <a:off x="13254488" y="7068103"/>
              <a:ext cx="408287" cy="116495"/>
            </a:xfrm>
            <a:custGeom>
              <a:avLst/>
              <a:gdLst>
                <a:gd name="connsiteX0" fmla="*/ 239134 w 280065"/>
                <a:gd name="connsiteY0" fmla="*/ 70010 h 79910"/>
                <a:gd name="connsiteX1" fmla="*/ 165727 w 280065"/>
                <a:gd name="connsiteY1" fmla="*/ 65182 h 79910"/>
                <a:gd name="connsiteX2" fmla="*/ 122809 w 280065"/>
                <a:gd name="connsiteY2" fmla="*/ 50071 h 79910"/>
                <a:gd name="connsiteX3" fmla="*/ 74169 w 280065"/>
                <a:gd name="connsiteY3" fmla="*/ 44706 h 79910"/>
                <a:gd name="connsiteX4" fmla="*/ 15158 w 280065"/>
                <a:gd name="connsiteY4" fmla="*/ 31831 h 79910"/>
                <a:gd name="connsiteX5" fmla="*/ 10508 w 280065"/>
                <a:gd name="connsiteY5" fmla="*/ 5634 h 79910"/>
                <a:gd name="connsiteX6" fmla="*/ 91962 w 280065"/>
                <a:gd name="connsiteY6" fmla="*/ 12429 h 79910"/>
                <a:gd name="connsiteX7" fmla="*/ 163760 w 280065"/>
                <a:gd name="connsiteY7" fmla="*/ 16005 h 79910"/>
                <a:gd name="connsiteX8" fmla="*/ 227957 w 280065"/>
                <a:gd name="connsiteY8" fmla="*/ 41666 h 79910"/>
                <a:gd name="connsiteX9" fmla="*/ 244946 w 280065"/>
                <a:gd name="connsiteY9" fmla="*/ 47120 h 79910"/>
                <a:gd name="connsiteX10" fmla="*/ 276240 w 280065"/>
                <a:gd name="connsiteY10" fmla="*/ 57134 h 79910"/>
                <a:gd name="connsiteX11" fmla="*/ 257373 w 280065"/>
                <a:gd name="connsiteY11" fmla="*/ 78057 h 79910"/>
                <a:gd name="connsiteX12" fmla="*/ 239044 w 280065"/>
                <a:gd name="connsiteY12" fmla="*/ 69920 h 79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0065" h="79910">
                  <a:moveTo>
                    <a:pt x="239134" y="70010"/>
                  </a:moveTo>
                  <a:cubicBezTo>
                    <a:pt x="215350" y="57671"/>
                    <a:pt x="189957" y="69831"/>
                    <a:pt x="165727" y="65182"/>
                  </a:cubicBezTo>
                  <a:cubicBezTo>
                    <a:pt x="154550" y="51323"/>
                    <a:pt x="139261" y="49087"/>
                    <a:pt x="122809" y="50071"/>
                  </a:cubicBezTo>
                  <a:cubicBezTo>
                    <a:pt x="107162" y="43633"/>
                    <a:pt x="89816" y="51591"/>
                    <a:pt x="74169" y="44706"/>
                  </a:cubicBezTo>
                  <a:cubicBezTo>
                    <a:pt x="54499" y="40414"/>
                    <a:pt x="34828" y="36123"/>
                    <a:pt x="15158" y="31831"/>
                  </a:cubicBezTo>
                  <a:cubicBezTo>
                    <a:pt x="-12471" y="27807"/>
                    <a:pt x="5054" y="15648"/>
                    <a:pt x="10508" y="5634"/>
                  </a:cubicBezTo>
                  <a:cubicBezTo>
                    <a:pt x="38763" y="-6884"/>
                    <a:pt x="66211" y="4203"/>
                    <a:pt x="91962" y="12429"/>
                  </a:cubicBezTo>
                  <a:cubicBezTo>
                    <a:pt x="116640" y="20386"/>
                    <a:pt x="139529" y="16720"/>
                    <a:pt x="163760" y="16005"/>
                  </a:cubicBezTo>
                  <a:cubicBezTo>
                    <a:pt x="187096" y="15290"/>
                    <a:pt x="217586" y="5634"/>
                    <a:pt x="227957" y="41666"/>
                  </a:cubicBezTo>
                  <a:cubicBezTo>
                    <a:pt x="230550" y="50608"/>
                    <a:pt x="235379" y="51233"/>
                    <a:pt x="244946" y="47120"/>
                  </a:cubicBezTo>
                  <a:cubicBezTo>
                    <a:pt x="255854" y="42561"/>
                    <a:pt x="270964" y="38179"/>
                    <a:pt x="276240" y="57134"/>
                  </a:cubicBezTo>
                  <a:cubicBezTo>
                    <a:pt x="285628" y="78236"/>
                    <a:pt x="277134" y="83153"/>
                    <a:pt x="257373" y="78057"/>
                  </a:cubicBezTo>
                  <a:cubicBezTo>
                    <a:pt x="251294" y="75374"/>
                    <a:pt x="245124" y="72692"/>
                    <a:pt x="239044" y="6992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3" name="Freeform: Shape 192">
              <a:extLst>
                <a:ext uri="{FF2B5EF4-FFF2-40B4-BE49-F238E27FC236}">
                  <a16:creationId xmlns:a16="http://schemas.microsoft.com/office/drawing/2014/main" id="{F3BBC3F3-7D7A-A6BC-9791-EEC54CA43A8D}"/>
                </a:ext>
              </a:extLst>
            </p:cNvPr>
            <p:cNvSpPr/>
            <p:nvPr/>
          </p:nvSpPr>
          <p:spPr>
            <a:xfrm>
              <a:off x="13898152" y="6351426"/>
              <a:ext cx="199765" cy="156799"/>
            </a:xfrm>
            <a:custGeom>
              <a:avLst/>
              <a:gdLst>
                <a:gd name="connsiteX0" fmla="*/ 100717 w 137030"/>
                <a:gd name="connsiteY0" fmla="*/ 105886 h 107557"/>
                <a:gd name="connsiteX1" fmla="*/ 63164 w 137030"/>
                <a:gd name="connsiteY1" fmla="*/ 70211 h 107557"/>
                <a:gd name="connsiteX2" fmla="*/ 45997 w 137030"/>
                <a:gd name="connsiteY2" fmla="*/ 58945 h 107557"/>
                <a:gd name="connsiteX3" fmla="*/ 396 w 137030"/>
                <a:gd name="connsiteY3" fmla="*/ 67261 h 107557"/>
                <a:gd name="connsiteX4" fmla="*/ 35446 w 137030"/>
                <a:gd name="connsiteY4" fmla="*/ 36235 h 107557"/>
                <a:gd name="connsiteX5" fmla="*/ 93921 w 137030"/>
                <a:gd name="connsiteY5" fmla="*/ 2258 h 107557"/>
                <a:gd name="connsiteX6" fmla="*/ 120745 w 137030"/>
                <a:gd name="connsiteY6" fmla="*/ 17548 h 107557"/>
                <a:gd name="connsiteX7" fmla="*/ 135855 w 137030"/>
                <a:gd name="connsiteY7" fmla="*/ 62969 h 107557"/>
                <a:gd name="connsiteX8" fmla="*/ 129775 w 137030"/>
                <a:gd name="connsiteY8" fmla="*/ 82460 h 107557"/>
                <a:gd name="connsiteX9" fmla="*/ 115201 w 137030"/>
                <a:gd name="connsiteY9" fmla="*/ 102578 h 107557"/>
                <a:gd name="connsiteX10" fmla="*/ 100805 w 137030"/>
                <a:gd name="connsiteY10" fmla="*/ 105976 h 10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030" h="107557">
                  <a:moveTo>
                    <a:pt x="100717" y="105886"/>
                  </a:moveTo>
                  <a:cubicBezTo>
                    <a:pt x="79258" y="103383"/>
                    <a:pt x="63790" y="95067"/>
                    <a:pt x="63164" y="70211"/>
                  </a:cubicBezTo>
                  <a:cubicBezTo>
                    <a:pt x="62895" y="59124"/>
                    <a:pt x="58157" y="48663"/>
                    <a:pt x="45997" y="58945"/>
                  </a:cubicBezTo>
                  <a:cubicBezTo>
                    <a:pt x="30886" y="71731"/>
                    <a:pt x="1022" y="70747"/>
                    <a:pt x="396" y="67261"/>
                  </a:cubicBezTo>
                  <a:cubicBezTo>
                    <a:pt x="-4164" y="42493"/>
                    <a:pt x="32049" y="36056"/>
                    <a:pt x="35446" y="36235"/>
                  </a:cubicBezTo>
                  <a:cubicBezTo>
                    <a:pt x="64415" y="37844"/>
                    <a:pt x="78721" y="23717"/>
                    <a:pt x="93921" y="2258"/>
                  </a:cubicBezTo>
                  <a:cubicBezTo>
                    <a:pt x="99286" y="-5342"/>
                    <a:pt x="115738" y="7891"/>
                    <a:pt x="120745" y="17548"/>
                  </a:cubicBezTo>
                  <a:cubicBezTo>
                    <a:pt x="127987" y="31585"/>
                    <a:pt x="131921" y="47500"/>
                    <a:pt x="135855" y="62969"/>
                  </a:cubicBezTo>
                  <a:cubicBezTo>
                    <a:pt x="137644" y="69853"/>
                    <a:pt x="138537" y="81387"/>
                    <a:pt x="129775" y="82460"/>
                  </a:cubicBezTo>
                  <a:cubicBezTo>
                    <a:pt x="115291" y="84159"/>
                    <a:pt x="112429" y="87557"/>
                    <a:pt x="115201" y="102578"/>
                  </a:cubicBezTo>
                  <a:cubicBezTo>
                    <a:pt x="117257" y="113665"/>
                    <a:pt x="105545" y="102220"/>
                    <a:pt x="100805" y="10597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4" name="Freeform: Shape 193">
              <a:extLst>
                <a:ext uri="{FF2B5EF4-FFF2-40B4-BE49-F238E27FC236}">
                  <a16:creationId xmlns:a16="http://schemas.microsoft.com/office/drawing/2014/main" id="{C1D45169-D282-14E8-0037-28C3537A8430}"/>
                </a:ext>
              </a:extLst>
            </p:cNvPr>
            <p:cNvSpPr/>
            <p:nvPr/>
          </p:nvSpPr>
          <p:spPr>
            <a:xfrm>
              <a:off x="13735025" y="5968443"/>
              <a:ext cx="92634" cy="202281"/>
            </a:xfrm>
            <a:custGeom>
              <a:avLst/>
              <a:gdLst>
                <a:gd name="connsiteX0" fmla="*/ 58736 w 63543"/>
                <a:gd name="connsiteY0" fmla="*/ 131744 h 138755"/>
                <a:gd name="connsiteX1" fmla="*/ 39781 w 63543"/>
                <a:gd name="connsiteY1" fmla="*/ 134605 h 138755"/>
                <a:gd name="connsiteX2" fmla="*/ 6788 w 63543"/>
                <a:gd name="connsiteY2" fmla="*/ 99109 h 138755"/>
                <a:gd name="connsiteX3" fmla="*/ 4106 w 63543"/>
                <a:gd name="connsiteY3" fmla="*/ 9518 h 138755"/>
                <a:gd name="connsiteX4" fmla="*/ 52120 w 63543"/>
                <a:gd name="connsiteY4" fmla="*/ 11396 h 138755"/>
                <a:gd name="connsiteX5" fmla="*/ 60614 w 63543"/>
                <a:gd name="connsiteY5" fmla="*/ 62897 h 138755"/>
                <a:gd name="connsiteX6" fmla="*/ 58647 w 63543"/>
                <a:gd name="connsiteY6" fmla="*/ 124948 h 138755"/>
                <a:gd name="connsiteX7" fmla="*/ 58826 w 63543"/>
                <a:gd name="connsiteY7" fmla="*/ 131833 h 13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3" h="138755">
                  <a:moveTo>
                    <a:pt x="58736" y="131744"/>
                  </a:moveTo>
                  <a:cubicBezTo>
                    <a:pt x="53640" y="140595"/>
                    <a:pt x="45950" y="140506"/>
                    <a:pt x="39781" y="134605"/>
                  </a:cubicBezTo>
                  <a:cubicBezTo>
                    <a:pt x="28068" y="123428"/>
                    <a:pt x="17249" y="111358"/>
                    <a:pt x="6788" y="99109"/>
                  </a:cubicBezTo>
                  <a:cubicBezTo>
                    <a:pt x="-901" y="90167"/>
                    <a:pt x="-2422" y="20069"/>
                    <a:pt x="4106" y="9518"/>
                  </a:cubicBezTo>
                  <a:cubicBezTo>
                    <a:pt x="12511" y="-3983"/>
                    <a:pt x="42732" y="-2910"/>
                    <a:pt x="52120" y="11396"/>
                  </a:cubicBezTo>
                  <a:cubicBezTo>
                    <a:pt x="62670" y="27579"/>
                    <a:pt x="66872" y="53866"/>
                    <a:pt x="60614" y="62897"/>
                  </a:cubicBezTo>
                  <a:cubicBezTo>
                    <a:pt x="44699" y="85875"/>
                    <a:pt x="60792" y="104741"/>
                    <a:pt x="58647" y="124948"/>
                  </a:cubicBezTo>
                  <a:cubicBezTo>
                    <a:pt x="62402" y="127184"/>
                    <a:pt x="62491" y="129419"/>
                    <a:pt x="58826" y="13183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5" name="Freeform: Shape 194">
              <a:extLst>
                <a:ext uri="{FF2B5EF4-FFF2-40B4-BE49-F238E27FC236}">
                  <a16:creationId xmlns:a16="http://schemas.microsoft.com/office/drawing/2014/main" id="{1EC195CE-5B8F-DA82-A583-C5FF5FB87CB0}"/>
                </a:ext>
              </a:extLst>
            </p:cNvPr>
            <p:cNvSpPr/>
            <p:nvPr/>
          </p:nvSpPr>
          <p:spPr>
            <a:xfrm>
              <a:off x="14348799" y="6735846"/>
              <a:ext cx="138392" cy="83158"/>
            </a:xfrm>
            <a:custGeom>
              <a:avLst/>
              <a:gdLst>
                <a:gd name="connsiteX0" fmla="*/ 91837 w 94931"/>
                <a:gd name="connsiteY0" fmla="*/ 44173 h 57043"/>
                <a:gd name="connsiteX1" fmla="*/ 70557 w 94931"/>
                <a:gd name="connsiteY1" fmla="*/ 56601 h 57043"/>
                <a:gd name="connsiteX2" fmla="*/ 27104 w 94931"/>
                <a:gd name="connsiteY2" fmla="*/ 43011 h 57043"/>
                <a:gd name="connsiteX3" fmla="*/ 1442 w 94931"/>
                <a:gd name="connsiteY3" fmla="*/ 6084 h 57043"/>
                <a:gd name="connsiteX4" fmla="*/ 995 w 94931"/>
                <a:gd name="connsiteY4" fmla="*/ 6531 h 57043"/>
                <a:gd name="connsiteX5" fmla="*/ 85221 w 94931"/>
                <a:gd name="connsiteY5" fmla="*/ 5011 h 57043"/>
                <a:gd name="connsiteX6" fmla="*/ 92642 w 94931"/>
                <a:gd name="connsiteY6" fmla="*/ 31119 h 57043"/>
                <a:gd name="connsiteX7" fmla="*/ 91927 w 94931"/>
                <a:gd name="connsiteY7" fmla="*/ 44262 h 5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931" h="57043">
                  <a:moveTo>
                    <a:pt x="91837" y="44173"/>
                  </a:moveTo>
                  <a:cubicBezTo>
                    <a:pt x="84774" y="48375"/>
                    <a:pt x="81645" y="59373"/>
                    <a:pt x="70557" y="56601"/>
                  </a:cubicBezTo>
                  <a:cubicBezTo>
                    <a:pt x="58845" y="43189"/>
                    <a:pt x="39979" y="52667"/>
                    <a:pt x="27104" y="43011"/>
                  </a:cubicBezTo>
                  <a:cubicBezTo>
                    <a:pt x="21381" y="28705"/>
                    <a:pt x="-6604" y="29867"/>
                    <a:pt x="1442" y="6084"/>
                  </a:cubicBezTo>
                  <a:lnTo>
                    <a:pt x="995" y="6531"/>
                  </a:lnTo>
                  <a:cubicBezTo>
                    <a:pt x="29071" y="6262"/>
                    <a:pt x="56878" y="-6970"/>
                    <a:pt x="85221" y="5011"/>
                  </a:cubicBezTo>
                  <a:cubicBezTo>
                    <a:pt x="95414" y="11538"/>
                    <a:pt x="97023" y="20479"/>
                    <a:pt x="92642" y="31119"/>
                  </a:cubicBezTo>
                  <a:cubicBezTo>
                    <a:pt x="92374" y="35500"/>
                    <a:pt x="92106" y="39881"/>
                    <a:pt x="91927" y="4426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6" name="Freeform: Shape 195">
              <a:extLst>
                <a:ext uri="{FF2B5EF4-FFF2-40B4-BE49-F238E27FC236}">
                  <a16:creationId xmlns:a16="http://schemas.microsoft.com/office/drawing/2014/main" id="{CEAF975C-DBBE-71ED-B196-C8A2DE2CC5E6}"/>
                </a:ext>
              </a:extLst>
            </p:cNvPr>
            <p:cNvSpPr/>
            <p:nvPr/>
          </p:nvSpPr>
          <p:spPr>
            <a:xfrm>
              <a:off x="13635262" y="5665372"/>
              <a:ext cx="67074" cy="135895"/>
            </a:xfrm>
            <a:custGeom>
              <a:avLst/>
              <a:gdLst>
                <a:gd name="connsiteX0" fmla="*/ 41513 w 46010"/>
                <a:gd name="connsiteY0" fmla="*/ 93217 h 93217"/>
                <a:gd name="connsiteX1" fmla="*/ 3156 w 46010"/>
                <a:gd name="connsiteY1" fmla="*/ 24907 h 93217"/>
                <a:gd name="connsiteX2" fmla="*/ 28906 w 46010"/>
                <a:gd name="connsiteY2" fmla="*/ 50 h 93217"/>
                <a:gd name="connsiteX3" fmla="*/ 45984 w 46010"/>
                <a:gd name="connsiteY3" fmla="*/ 28036 h 93217"/>
                <a:gd name="connsiteX4" fmla="*/ 41513 w 46010"/>
                <a:gd name="connsiteY4" fmla="*/ 93217 h 9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10" h="93217">
                  <a:moveTo>
                    <a:pt x="41513" y="93217"/>
                  </a:moveTo>
                  <a:cubicBezTo>
                    <a:pt x="4050" y="73636"/>
                    <a:pt x="-5964" y="55933"/>
                    <a:pt x="3156" y="24907"/>
                  </a:cubicBezTo>
                  <a:cubicBezTo>
                    <a:pt x="6732" y="12657"/>
                    <a:pt x="15941" y="-933"/>
                    <a:pt x="28906" y="50"/>
                  </a:cubicBezTo>
                  <a:cubicBezTo>
                    <a:pt x="41245" y="945"/>
                    <a:pt x="46431" y="15429"/>
                    <a:pt x="45984" y="28036"/>
                  </a:cubicBezTo>
                  <a:cubicBezTo>
                    <a:pt x="45269" y="48690"/>
                    <a:pt x="43212" y="69344"/>
                    <a:pt x="41513" y="9321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7" name="Freeform: Shape 196">
              <a:extLst>
                <a:ext uri="{FF2B5EF4-FFF2-40B4-BE49-F238E27FC236}">
                  <a16:creationId xmlns:a16="http://schemas.microsoft.com/office/drawing/2014/main" id="{D5FE6808-EA24-44FC-687C-29B7A26B0093}"/>
                </a:ext>
              </a:extLst>
            </p:cNvPr>
            <p:cNvSpPr/>
            <p:nvPr/>
          </p:nvSpPr>
          <p:spPr>
            <a:xfrm>
              <a:off x="13910851" y="6723918"/>
              <a:ext cx="205233" cy="53469"/>
            </a:xfrm>
            <a:custGeom>
              <a:avLst/>
              <a:gdLst>
                <a:gd name="connsiteX0" fmla="*/ 5991 w 140780"/>
                <a:gd name="connsiteY0" fmla="*/ 36528 h 36677"/>
                <a:gd name="connsiteX1" fmla="*/ 0 w 140780"/>
                <a:gd name="connsiteY1" fmla="*/ 30538 h 36677"/>
                <a:gd name="connsiteX2" fmla="*/ 13591 w 140780"/>
                <a:gd name="connsiteY2" fmla="*/ 6129 h 36677"/>
                <a:gd name="connsiteX3" fmla="*/ 31205 w 140780"/>
                <a:gd name="connsiteY3" fmla="*/ 6755 h 36677"/>
                <a:gd name="connsiteX4" fmla="*/ 119901 w 140780"/>
                <a:gd name="connsiteY4" fmla="*/ 7559 h 36677"/>
                <a:gd name="connsiteX5" fmla="*/ 139035 w 140780"/>
                <a:gd name="connsiteY5" fmla="*/ 3893 h 36677"/>
                <a:gd name="connsiteX6" fmla="*/ 131167 w 140780"/>
                <a:gd name="connsiteY6" fmla="*/ 22670 h 36677"/>
                <a:gd name="connsiteX7" fmla="*/ 96296 w 140780"/>
                <a:gd name="connsiteY7" fmla="*/ 34472 h 36677"/>
                <a:gd name="connsiteX8" fmla="*/ 5991 w 140780"/>
                <a:gd name="connsiteY8" fmla="*/ 36528 h 36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780" h="36677">
                  <a:moveTo>
                    <a:pt x="5991" y="36528"/>
                  </a:moveTo>
                  <a:cubicBezTo>
                    <a:pt x="4024" y="34561"/>
                    <a:pt x="1967" y="32594"/>
                    <a:pt x="0" y="30538"/>
                  </a:cubicBezTo>
                  <a:cubicBezTo>
                    <a:pt x="4560" y="22402"/>
                    <a:pt x="9031" y="14265"/>
                    <a:pt x="13591" y="6129"/>
                  </a:cubicBezTo>
                  <a:cubicBezTo>
                    <a:pt x="19492" y="6307"/>
                    <a:pt x="25393" y="6576"/>
                    <a:pt x="31205" y="6755"/>
                  </a:cubicBezTo>
                  <a:cubicBezTo>
                    <a:pt x="60621" y="22223"/>
                    <a:pt x="90127" y="25442"/>
                    <a:pt x="119901" y="7559"/>
                  </a:cubicBezTo>
                  <a:cubicBezTo>
                    <a:pt x="125713" y="4072"/>
                    <a:pt x="132240" y="-5227"/>
                    <a:pt x="139035" y="3893"/>
                  </a:cubicBezTo>
                  <a:cubicBezTo>
                    <a:pt x="144847" y="11672"/>
                    <a:pt x="134564" y="17037"/>
                    <a:pt x="131167" y="22670"/>
                  </a:cubicBezTo>
                  <a:cubicBezTo>
                    <a:pt x="123388" y="35634"/>
                    <a:pt x="107741" y="36707"/>
                    <a:pt x="96296" y="34472"/>
                  </a:cubicBezTo>
                  <a:cubicBezTo>
                    <a:pt x="65718" y="28482"/>
                    <a:pt x="36123" y="37959"/>
                    <a:pt x="5991" y="3652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8" name="Freeform: Shape 197">
              <a:extLst>
                <a:ext uri="{FF2B5EF4-FFF2-40B4-BE49-F238E27FC236}">
                  <a16:creationId xmlns:a16="http://schemas.microsoft.com/office/drawing/2014/main" id="{39003727-EF1F-39E1-042A-86DBE523E72E}"/>
                </a:ext>
              </a:extLst>
            </p:cNvPr>
            <p:cNvSpPr/>
            <p:nvPr/>
          </p:nvSpPr>
          <p:spPr>
            <a:xfrm>
              <a:off x="13219396" y="5910283"/>
              <a:ext cx="97339" cy="85371"/>
            </a:xfrm>
            <a:custGeom>
              <a:avLst/>
              <a:gdLst>
                <a:gd name="connsiteX0" fmla="*/ 66680 w 66769"/>
                <a:gd name="connsiteY0" fmla="*/ 20892 h 58561"/>
                <a:gd name="connsiteX1" fmla="*/ 40035 w 66769"/>
                <a:gd name="connsiteY1" fmla="*/ 58355 h 58561"/>
                <a:gd name="connsiteX2" fmla="*/ 425 w 66769"/>
                <a:gd name="connsiteY2" fmla="*/ 29117 h 58561"/>
                <a:gd name="connsiteX3" fmla="*/ 36280 w 66769"/>
                <a:gd name="connsiteY3" fmla="*/ 1131 h 58561"/>
                <a:gd name="connsiteX4" fmla="*/ 66769 w 66769"/>
                <a:gd name="connsiteY4" fmla="*/ 20892 h 58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69" h="58561">
                  <a:moveTo>
                    <a:pt x="66680" y="20892"/>
                  </a:moveTo>
                  <a:cubicBezTo>
                    <a:pt x="42628" y="24021"/>
                    <a:pt x="65249" y="56120"/>
                    <a:pt x="40035" y="58355"/>
                  </a:cubicBezTo>
                  <a:cubicBezTo>
                    <a:pt x="18844" y="60233"/>
                    <a:pt x="3555" y="49235"/>
                    <a:pt x="425" y="29117"/>
                  </a:cubicBezTo>
                  <a:cubicBezTo>
                    <a:pt x="-3687" y="3188"/>
                    <a:pt x="23047" y="7390"/>
                    <a:pt x="36280" y="1131"/>
                  </a:cubicBezTo>
                  <a:cubicBezTo>
                    <a:pt x="46830" y="-3876"/>
                    <a:pt x="57023" y="8642"/>
                    <a:pt x="66769" y="208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9" name="Freeform: Shape 198">
              <a:extLst>
                <a:ext uri="{FF2B5EF4-FFF2-40B4-BE49-F238E27FC236}">
                  <a16:creationId xmlns:a16="http://schemas.microsoft.com/office/drawing/2014/main" id="{7EA212CF-E1D3-102E-AE93-B981F6F1DB17}"/>
                </a:ext>
              </a:extLst>
            </p:cNvPr>
            <p:cNvSpPr/>
            <p:nvPr/>
          </p:nvSpPr>
          <p:spPr>
            <a:xfrm>
              <a:off x="14069225" y="7136479"/>
              <a:ext cx="136471" cy="80980"/>
            </a:xfrm>
            <a:custGeom>
              <a:avLst/>
              <a:gdLst>
                <a:gd name="connsiteX0" fmla="*/ 93613 w 93613"/>
                <a:gd name="connsiteY0" fmla="*/ 665 h 55549"/>
                <a:gd name="connsiteX1" fmla="*/ 12606 w 93613"/>
                <a:gd name="connsiteY1" fmla="*/ 55296 h 55549"/>
                <a:gd name="connsiteX2" fmla="*/ 1788 w 93613"/>
                <a:gd name="connsiteY2" fmla="*/ 51183 h 55549"/>
                <a:gd name="connsiteX3" fmla="*/ 6973 w 93613"/>
                <a:gd name="connsiteY3" fmla="*/ 34463 h 55549"/>
                <a:gd name="connsiteX4" fmla="*/ 93613 w 93613"/>
                <a:gd name="connsiteY4" fmla="*/ 665 h 55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13" h="55549">
                  <a:moveTo>
                    <a:pt x="93613" y="665"/>
                  </a:moveTo>
                  <a:cubicBezTo>
                    <a:pt x="69920" y="28383"/>
                    <a:pt x="33708" y="31065"/>
                    <a:pt x="12606" y="55296"/>
                  </a:cubicBezTo>
                  <a:cubicBezTo>
                    <a:pt x="11623" y="56369"/>
                    <a:pt x="3576" y="53865"/>
                    <a:pt x="1788" y="51183"/>
                  </a:cubicBezTo>
                  <a:cubicBezTo>
                    <a:pt x="-2504" y="44566"/>
                    <a:pt x="1609" y="38218"/>
                    <a:pt x="6973" y="34463"/>
                  </a:cubicBezTo>
                  <a:cubicBezTo>
                    <a:pt x="31383" y="17475"/>
                    <a:pt x="53915" y="-4074"/>
                    <a:pt x="93613" y="6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0" name="Freeform: Shape 199">
              <a:extLst>
                <a:ext uri="{FF2B5EF4-FFF2-40B4-BE49-F238E27FC236}">
                  <a16:creationId xmlns:a16="http://schemas.microsoft.com/office/drawing/2014/main" id="{7C4BCAF6-72A1-9499-7471-C4C7AA41F5BB}"/>
                </a:ext>
              </a:extLst>
            </p:cNvPr>
            <p:cNvSpPr/>
            <p:nvPr/>
          </p:nvSpPr>
          <p:spPr>
            <a:xfrm>
              <a:off x="14215993" y="6856337"/>
              <a:ext cx="151069" cy="40623"/>
            </a:xfrm>
            <a:custGeom>
              <a:avLst/>
              <a:gdLst>
                <a:gd name="connsiteX0" fmla="*/ 103628 w 103627"/>
                <a:gd name="connsiteY0" fmla="*/ 27865 h 27865"/>
                <a:gd name="connsiteX1" fmla="*/ 0 w 103627"/>
                <a:gd name="connsiteY1" fmla="*/ 24915 h 27865"/>
                <a:gd name="connsiteX2" fmla="*/ 103628 w 103627"/>
                <a:gd name="connsiteY2" fmla="*/ 27865 h 27865"/>
              </a:gdLst>
              <a:ahLst/>
              <a:cxnLst>
                <a:cxn ang="0">
                  <a:pos x="connsiteX0" y="connsiteY0"/>
                </a:cxn>
                <a:cxn ang="0">
                  <a:pos x="connsiteX1" y="connsiteY1"/>
                </a:cxn>
                <a:cxn ang="0">
                  <a:pos x="connsiteX2" y="connsiteY2"/>
                </a:cxn>
              </a:cxnLst>
              <a:rect l="l" t="t" r="r" b="b"/>
              <a:pathLst>
                <a:path w="103627" h="27865">
                  <a:moveTo>
                    <a:pt x="103628" y="27865"/>
                  </a:moveTo>
                  <a:cubicBezTo>
                    <a:pt x="68310" y="21696"/>
                    <a:pt x="36838" y="13917"/>
                    <a:pt x="0" y="24915"/>
                  </a:cubicBezTo>
                  <a:cubicBezTo>
                    <a:pt x="28343" y="-9866"/>
                    <a:pt x="71261" y="-7631"/>
                    <a:pt x="103628" y="278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1" name="Freeform: Shape 200">
              <a:extLst>
                <a:ext uri="{FF2B5EF4-FFF2-40B4-BE49-F238E27FC236}">
                  <a16:creationId xmlns:a16="http://schemas.microsoft.com/office/drawing/2014/main" id="{35B482CA-E36B-E4BE-52FE-F782B1D92A53}"/>
                </a:ext>
              </a:extLst>
            </p:cNvPr>
            <p:cNvSpPr/>
            <p:nvPr/>
          </p:nvSpPr>
          <p:spPr>
            <a:xfrm>
              <a:off x="13867577" y="6257152"/>
              <a:ext cx="66867" cy="116660"/>
            </a:xfrm>
            <a:custGeom>
              <a:avLst/>
              <a:gdLst>
                <a:gd name="connsiteX0" fmla="*/ 45779 w 45868"/>
                <a:gd name="connsiteY0" fmla="*/ 70682 h 80023"/>
                <a:gd name="connsiteX1" fmla="*/ 27360 w 45868"/>
                <a:gd name="connsiteY1" fmla="*/ 72560 h 80023"/>
                <a:gd name="connsiteX2" fmla="*/ 7064 w 45868"/>
                <a:gd name="connsiteY2" fmla="*/ 30626 h 80023"/>
                <a:gd name="connsiteX3" fmla="*/ 0 w 45868"/>
                <a:gd name="connsiteY3" fmla="*/ 1388 h 80023"/>
                <a:gd name="connsiteX4" fmla="*/ 39699 w 45868"/>
                <a:gd name="connsiteY4" fmla="*/ 32951 h 80023"/>
                <a:gd name="connsiteX5" fmla="*/ 45868 w 45868"/>
                <a:gd name="connsiteY5" fmla="*/ 70682 h 8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68" h="80023">
                  <a:moveTo>
                    <a:pt x="45779" y="70682"/>
                  </a:moveTo>
                  <a:cubicBezTo>
                    <a:pt x="40414" y="86329"/>
                    <a:pt x="25840" y="78998"/>
                    <a:pt x="27360" y="72560"/>
                  </a:cubicBezTo>
                  <a:cubicBezTo>
                    <a:pt x="32456" y="50833"/>
                    <a:pt x="24767" y="40819"/>
                    <a:pt x="7064" y="30626"/>
                  </a:cubicBezTo>
                  <a:cubicBezTo>
                    <a:pt x="984" y="27139"/>
                    <a:pt x="2057" y="11313"/>
                    <a:pt x="0" y="1388"/>
                  </a:cubicBezTo>
                  <a:cubicBezTo>
                    <a:pt x="30311" y="-6748"/>
                    <a:pt x="26466" y="23115"/>
                    <a:pt x="39699" y="32951"/>
                  </a:cubicBezTo>
                  <a:cubicBezTo>
                    <a:pt x="47746" y="44574"/>
                    <a:pt x="38179" y="58969"/>
                    <a:pt x="45868" y="7068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2" name="Freeform: Shape 201">
              <a:extLst>
                <a:ext uri="{FF2B5EF4-FFF2-40B4-BE49-F238E27FC236}">
                  <a16:creationId xmlns:a16="http://schemas.microsoft.com/office/drawing/2014/main" id="{DB3D5027-FD9F-2A72-BB3B-47F93219EBFA}"/>
                </a:ext>
              </a:extLst>
            </p:cNvPr>
            <p:cNvSpPr/>
            <p:nvPr/>
          </p:nvSpPr>
          <p:spPr>
            <a:xfrm>
              <a:off x="14661856" y="7087325"/>
              <a:ext cx="48181" cy="46188"/>
            </a:xfrm>
            <a:custGeom>
              <a:avLst/>
              <a:gdLst>
                <a:gd name="connsiteX0" fmla="*/ 26501 w 33050"/>
                <a:gd name="connsiteY0" fmla="*/ 26604 h 31683"/>
                <a:gd name="connsiteX1" fmla="*/ 125 w 33050"/>
                <a:gd name="connsiteY1" fmla="*/ 19719 h 31683"/>
                <a:gd name="connsiteX2" fmla="*/ 28290 w 33050"/>
                <a:gd name="connsiteY2" fmla="*/ 1032 h 31683"/>
                <a:gd name="connsiteX3" fmla="*/ 26412 w 33050"/>
                <a:gd name="connsiteY3" fmla="*/ 26693 h 31683"/>
              </a:gdLst>
              <a:ahLst/>
              <a:cxnLst>
                <a:cxn ang="0">
                  <a:pos x="connsiteX0" y="connsiteY0"/>
                </a:cxn>
                <a:cxn ang="0">
                  <a:pos x="connsiteX1" y="connsiteY1"/>
                </a:cxn>
                <a:cxn ang="0">
                  <a:pos x="connsiteX2" y="connsiteY2"/>
                </a:cxn>
                <a:cxn ang="0">
                  <a:pos x="connsiteX3" y="connsiteY3"/>
                </a:cxn>
              </a:cxnLst>
              <a:rect l="l" t="t" r="r" b="b"/>
              <a:pathLst>
                <a:path w="33050" h="31683">
                  <a:moveTo>
                    <a:pt x="26501" y="26604"/>
                  </a:moveTo>
                  <a:cubicBezTo>
                    <a:pt x="16398" y="28839"/>
                    <a:pt x="1913" y="40016"/>
                    <a:pt x="125" y="19719"/>
                  </a:cubicBezTo>
                  <a:cubicBezTo>
                    <a:pt x="-1485" y="943"/>
                    <a:pt x="12732" y="-2008"/>
                    <a:pt x="28290" y="1032"/>
                  </a:cubicBezTo>
                  <a:cubicBezTo>
                    <a:pt x="34101" y="10063"/>
                    <a:pt x="35800" y="18736"/>
                    <a:pt x="26412" y="266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3" name="Freeform: Shape 202">
              <a:extLst>
                <a:ext uri="{FF2B5EF4-FFF2-40B4-BE49-F238E27FC236}">
                  <a16:creationId xmlns:a16="http://schemas.microsoft.com/office/drawing/2014/main" id="{82EE2D7D-1F68-3AF5-3028-8E79D00E2C49}"/>
                </a:ext>
              </a:extLst>
            </p:cNvPr>
            <p:cNvSpPr/>
            <p:nvPr/>
          </p:nvSpPr>
          <p:spPr>
            <a:xfrm>
              <a:off x="13896515" y="7143721"/>
              <a:ext cx="76439" cy="26572"/>
            </a:xfrm>
            <a:custGeom>
              <a:avLst/>
              <a:gdLst>
                <a:gd name="connsiteX0" fmla="*/ 52127 w 52434"/>
                <a:gd name="connsiteY0" fmla="*/ 11076 h 18228"/>
                <a:gd name="connsiteX1" fmla="*/ 0 w 52434"/>
                <a:gd name="connsiteY1" fmla="*/ 18229 h 18228"/>
                <a:gd name="connsiteX2" fmla="*/ 45332 w 52434"/>
                <a:gd name="connsiteY2" fmla="*/ 5264 h 18228"/>
                <a:gd name="connsiteX3" fmla="*/ 52127 w 52434"/>
                <a:gd name="connsiteY3" fmla="*/ 11165 h 18228"/>
              </a:gdLst>
              <a:ahLst/>
              <a:cxnLst>
                <a:cxn ang="0">
                  <a:pos x="connsiteX0" y="connsiteY0"/>
                </a:cxn>
                <a:cxn ang="0">
                  <a:pos x="connsiteX1" y="connsiteY1"/>
                </a:cxn>
                <a:cxn ang="0">
                  <a:pos x="connsiteX2" y="connsiteY2"/>
                </a:cxn>
                <a:cxn ang="0">
                  <a:pos x="connsiteX3" y="connsiteY3"/>
                </a:cxn>
              </a:cxnLst>
              <a:rect l="l" t="t" r="r" b="b"/>
              <a:pathLst>
                <a:path w="52434" h="18228">
                  <a:moveTo>
                    <a:pt x="52127" y="11076"/>
                  </a:moveTo>
                  <a:cubicBezTo>
                    <a:pt x="35228" y="13401"/>
                    <a:pt x="18419" y="15636"/>
                    <a:pt x="0" y="18229"/>
                  </a:cubicBezTo>
                  <a:cubicBezTo>
                    <a:pt x="9925" y="-11366"/>
                    <a:pt x="29327" y="3566"/>
                    <a:pt x="45332" y="5264"/>
                  </a:cubicBezTo>
                  <a:cubicBezTo>
                    <a:pt x="52306" y="1777"/>
                    <a:pt x="53021" y="5532"/>
                    <a:pt x="52127" y="111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4" name="Freeform: Shape 203">
              <a:extLst>
                <a:ext uri="{FF2B5EF4-FFF2-40B4-BE49-F238E27FC236}">
                  <a16:creationId xmlns:a16="http://schemas.microsoft.com/office/drawing/2014/main" id="{C1E68440-E994-C444-20CF-18EE9ADAB79E}"/>
                </a:ext>
              </a:extLst>
            </p:cNvPr>
            <p:cNvSpPr/>
            <p:nvPr/>
          </p:nvSpPr>
          <p:spPr>
            <a:xfrm>
              <a:off x="13870967" y="7201450"/>
              <a:ext cx="63869" cy="27110"/>
            </a:xfrm>
            <a:custGeom>
              <a:avLst/>
              <a:gdLst>
                <a:gd name="connsiteX0" fmla="*/ 23962 w 43811"/>
                <a:gd name="connsiteY0" fmla="*/ 0 h 18597"/>
                <a:gd name="connsiteX1" fmla="*/ 43812 w 43811"/>
                <a:gd name="connsiteY1" fmla="*/ 18597 h 18597"/>
                <a:gd name="connsiteX2" fmla="*/ 0 w 43811"/>
                <a:gd name="connsiteY2" fmla="*/ 6169 h 18597"/>
                <a:gd name="connsiteX3" fmla="*/ 23962 w 43811"/>
                <a:gd name="connsiteY3" fmla="*/ 0 h 18597"/>
              </a:gdLst>
              <a:ahLst/>
              <a:cxnLst>
                <a:cxn ang="0">
                  <a:pos x="connsiteX0" y="connsiteY0"/>
                </a:cxn>
                <a:cxn ang="0">
                  <a:pos x="connsiteX1" y="connsiteY1"/>
                </a:cxn>
                <a:cxn ang="0">
                  <a:pos x="connsiteX2" y="connsiteY2"/>
                </a:cxn>
                <a:cxn ang="0">
                  <a:pos x="connsiteX3" y="connsiteY3"/>
                </a:cxn>
              </a:cxnLst>
              <a:rect l="l" t="t" r="r" b="b"/>
              <a:pathLst>
                <a:path w="43811" h="18597">
                  <a:moveTo>
                    <a:pt x="23962" y="0"/>
                  </a:moveTo>
                  <a:cubicBezTo>
                    <a:pt x="33440" y="1609"/>
                    <a:pt x="41934" y="4292"/>
                    <a:pt x="43812" y="18597"/>
                  </a:cubicBezTo>
                  <a:cubicBezTo>
                    <a:pt x="27807" y="14037"/>
                    <a:pt x="13948" y="10103"/>
                    <a:pt x="0" y="6169"/>
                  </a:cubicBezTo>
                  <a:cubicBezTo>
                    <a:pt x="6348" y="-2235"/>
                    <a:pt x="16809" y="5275"/>
                    <a:pt x="2396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5" name="Freeform: Shape 204">
              <a:extLst>
                <a:ext uri="{FF2B5EF4-FFF2-40B4-BE49-F238E27FC236}">
                  <a16:creationId xmlns:a16="http://schemas.microsoft.com/office/drawing/2014/main" id="{7D2E1B45-018F-D07C-A2B2-E727737C7389}"/>
                </a:ext>
              </a:extLst>
            </p:cNvPr>
            <p:cNvSpPr/>
            <p:nvPr/>
          </p:nvSpPr>
          <p:spPr>
            <a:xfrm>
              <a:off x="14376632" y="7237823"/>
              <a:ext cx="35734" cy="35578"/>
            </a:xfrm>
            <a:custGeom>
              <a:avLst/>
              <a:gdLst>
                <a:gd name="connsiteX0" fmla="*/ 17490 w 24512"/>
                <a:gd name="connsiteY0" fmla="*/ 24405 h 24404"/>
                <a:gd name="connsiteX1" fmla="*/ 1396 w 24512"/>
                <a:gd name="connsiteY1" fmla="*/ 13675 h 24404"/>
                <a:gd name="connsiteX2" fmla="*/ 24017 w 24512"/>
                <a:gd name="connsiteY2" fmla="*/ 3214 h 24404"/>
                <a:gd name="connsiteX3" fmla="*/ 17490 w 24512"/>
                <a:gd name="connsiteY3" fmla="*/ 24405 h 24404"/>
              </a:gdLst>
              <a:ahLst/>
              <a:cxnLst>
                <a:cxn ang="0">
                  <a:pos x="connsiteX0" y="connsiteY0"/>
                </a:cxn>
                <a:cxn ang="0">
                  <a:pos x="connsiteX1" y="connsiteY1"/>
                </a:cxn>
                <a:cxn ang="0">
                  <a:pos x="connsiteX2" y="connsiteY2"/>
                </a:cxn>
                <a:cxn ang="0">
                  <a:pos x="connsiteX3" y="connsiteY3"/>
                </a:cxn>
              </a:cxnLst>
              <a:rect l="l" t="t" r="r" b="b"/>
              <a:pathLst>
                <a:path w="24512" h="24404">
                  <a:moveTo>
                    <a:pt x="17490" y="24405"/>
                  </a:moveTo>
                  <a:cubicBezTo>
                    <a:pt x="9800" y="23958"/>
                    <a:pt x="-214" y="20560"/>
                    <a:pt x="1396" y="13675"/>
                  </a:cubicBezTo>
                  <a:cubicBezTo>
                    <a:pt x="-4684" y="-2866"/>
                    <a:pt x="10247" y="-1704"/>
                    <a:pt x="24017" y="3214"/>
                  </a:cubicBezTo>
                  <a:cubicBezTo>
                    <a:pt x="24464" y="11082"/>
                    <a:pt x="26431" y="19398"/>
                    <a:pt x="17490" y="2440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6" name="Freeform: Shape 205">
              <a:extLst>
                <a:ext uri="{FF2B5EF4-FFF2-40B4-BE49-F238E27FC236}">
                  <a16:creationId xmlns:a16="http://schemas.microsoft.com/office/drawing/2014/main" id="{6CD75C52-1955-BBDF-5A6C-BB0E6B5552D0}"/>
                </a:ext>
              </a:extLst>
            </p:cNvPr>
            <p:cNvSpPr/>
            <p:nvPr/>
          </p:nvSpPr>
          <p:spPr>
            <a:xfrm>
              <a:off x="13792237" y="6187218"/>
              <a:ext cx="47706" cy="37836"/>
            </a:xfrm>
            <a:custGeom>
              <a:avLst/>
              <a:gdLst>
                <a:gd name="connsiteX0" fmla="*/ 0 w 32724"/>
                <a:gd name="connsiteY0" fmla="*/ 4 h 25954"/>
                <a:gd name="connsiteX1" fmla="*/ 32724 w 32724"/>
                <a:gd name="connsiteY1" fmla="*/ 25755 h 25954"/>
                <a:gd name="connsiteX2" fmla="*/ 0 w 32724"/>
                <a:gd name="connsiteY2" fmla="*/ 4 h 25954"/>
              </a:gdLst>
              <a:ahLst/>
              <a:cxnLst>
                <a:cxn ang="0">
                  <a:pos x="connsiteX0" y="connsiteY0"/>
                </a:cxn>
                <a:cxn ang="0">
                  <a:pos x="connsiteX1" y="connsiteY1"/>
                </a:cxn>
                <a:cxn ang="0">
                  <a:pos x="connsiteX2" y="connsiteY2"/>
                </a:cxn>
              </a:cxnLst>
              <a:rect l="l" t="t" r="r" b="b"/>
              <a:pathLst>
                <a:path w="32724" h="25954">
                  <a:moveTo>
                    <a:pt x="0" y="4"/>
                  </a:moveTo>
                  <a:cubicBezTo>
                    <a:pt x="17346" y="-264"/>
                    <a:pt x="21280" y="13147"/>
                    <a:pt x="32724" y="25755"/>
                  </a:cubicBezTo>
                  <a:cubicBezTo>
                    <a:pt x="8047" y="28169"/>
                    <a:pt x="9120" y="8051"/>
                    <a:pt x="0" y="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7" name="Freeform: Shape 206">
              <a:extLst>
                <a:ext uri="{FF2B5EF4-FFF2-40B4-BE49-F238E27FC236}">
                  <a16:creationId xmlns:a16="http://schemas.microsoft.com/office/drawing/2014/main" id="{2E9CE7A5-44AF-AD3A-1331-0AC47138511B}"/>
                </a:ext>
              </a:extLst>
            </p:cNvPr>
            <p:cNvSpPr/>
            <p:nvPr/>
          </p:nvSpPr>
          <p:spPr>
            <a:xfrm>
              <a:off x="13962600" y="6283549"/>
              <a:ext cx="50836" cy="33010"/>
            </a:xfrm>
            <a:custGeom>
              <a:avLst/>
              <a:gdLst>
                <a:gd name="connsiteX0" fmla="*/ 20565 w 34870"/>
                <a:gd name="connsiteY0" fmla="*/ 0 h 22644"/>
                <a:gd name="connsiteX1" fmla="*/ 34870 w 34870"/>
                <a:gd name="connsiteY1" fmla="*/ 19402 h 22644"/>
                <a:gd name="connsiteX2" fmla="*/ 21369 w 34870"/>
                <a:gd name="connsiteY2" fmla="*/ 19581 h 22644"/>
                <a:gd name="connsiteX3" fmla="*/ 0 w 34870"/>
                <a:gd name="connsiteY3" fmla="*/ 6974 h 22644"/>
                <a:gd name="connsiteX4" fmla="*/ 20565 w 34870"/>
                <a:gd name="connsiteY4" fmla="*/ 0 h 22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0" h="22644">
                  <a:moveTo>
                    <a:pt x="20565" y="0"/>
                  </a:moveTo>
                  <a:cubicBezTo>
                    <a:pt x="19223" y="10998"/>
                    <a:pt x="33261" y="10640"/>
                    <a:pt x="34870" y="19402"/>
                  </a:cubicBezTo>
                  <a:cubicBezTo>
                    <a:pt x="30400" y="23605"/>
                    <a:pt x="25929" y="23784"/>
                    <a:pt x="21369" y="19581"/>
                  </a:cubicBezTo>
                  <a:cubicBezTo>
                    <a:pt x="14216" y="15379"/>
                    <a:pt x="7063" y="11176"/>
                    <a:pt x="0" y="6974"/>
                  </a:cubicBezTo>
                  <a:cubicBezTo>
                    <a:pt x="3576" y="-5097"/>
                    <a:pt x="14127" y="3398"/>
                    <a:pt x="20565"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8" name="Freeform: Shape 207">
              <a:extLst>
                <a:ext uri="{FF2B5EF4-FFF2-40B4-BE49-F238E27FC236}">
                  <a16:creationId xmlns:a16="http://schemas.microsoft.com/office/drawing/2014/main" id="{4110DA7F-8C1A-C8BD-5D37-B210A0B2A2BF}"/>
                </a:ext>
              </a:extLst>
            </p:cNvPr>
            <p:cNvSpPr/>
            <p:nvPr/>
          </p:nvSpPr>
          <p:spPr>
            <a:xfrm>
              <a:off x="14435400" y="7219170"/>
              <a:ext cx="42981" cy="18820"/>
            </a:xfrm>
            <a:custGeom>
              <a:avLst/>
              <a:gdLst>
                <a:gd name="connsiteX0" fmla="*/ 29394 w 29483"/>
                <a:gd name="connsiteY0" fmla="*/ 7247 h 12909"/>
                <a:gd name="connsiteX1" fmla="*/ 4270 w 29483"/>
                <a:gd name="connsiteY1" fmla="*/ 12701 h 12909"/>
                <a:gd name="connsiteX2" fmla="*/ 2839 w 29483"/>
                <a:gd name="connsiteY2" fmla="*/ 3044 h 12909"/>
                <a:gd name="connsiteX3" fmla="*/ 29484 w 29483"/>
                <a:gd name="connsiteY3" fmla="*/ 7157 h 12909"/>
              </a:gdLst>
              <a:ahLst/>
              <a:cxnLst>
                <a:cxn ang="0">
                  <a:pos x="connsiteX0" y="connsiteY0"/>
                </a:cxn>
                <a:cxn ang="0">
                  <a:pos x="connsiteX1" y="connsiteY1"/>
                </a:cxn>
                <a:cxn ang="0">
                  <a:pos x="connsiteX2" y="connsiteY2"/>
                </a:cxn>
                <a:cxn ang="0">
                  <a:pos x="connsiteX3" y="connsiteY3"/>
                </a:cxn>
              </a:cxnLst>
              <a:rect l="l" t="t" r="r" b="b"/>
              <a:pathLst>
                <a:path w="29483" h="12909">
                  <a:moveTo>
                    <a:pt x="29394" y="7247"/>
                  </a:moveTo>
                  <a:cubicBezTo>
                    <a:pt x="22420" y="15562"/>
                    <a:pt x="12853" y="12075"/>
                    <a:pt x="4270" y="12701"/>
                  </a:cubicBezTo>
                  <a:cubicBezTo>
                    <a:pt x="-1810" y="10287"/>
                    <a:pt x="-559" y="5011"/>
                    <a:pt x="2839" y="3044"/>
                  </a:cubicBezTo>
                  <a:cubicBezTo>
                    <a:pt x="12317" y="-2499"/>
                    <a:pt x="21437" y="-85"/>
                    <a:pt x="29484" y="715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9" name="Freeform: Shape 208">
              <a:extLst>
                <a:ext uri="{FF2B5EF4-FFF2-40B4-BE49-F238E27FC236}">
                  <a16:creationId xmlns:a16="http://schemas.microsoft.com/office/drawing/2014/main" id="{200A1F69-F49A-A150-AAB6-715F4DB199BD}"/>
                </a:ext>
              </a:extLst>
            </p:cNvPr>
            <p:cNvSpPr/>
            <p:nvPr/>
          </p:nvSpPr>
          <p:spPr>
            <a:xfrm>
              <a:off x="13831601" y="7178026"/>
              <a:ext cx="34932" cy="13385"/>
            </a:xfrm>
            <a:custGeom>
              <a:avLst/>
              <a:gdLst>
                <a:gd name="connsiteX0" fmla="*/ 23962 w 23962"/>
                <a:gd name="connsiteY0" fmla="*/ 3012 h 9181"/>
                <a:gd name="connsiteX1" fmla="*/ 0 w 23962"/>
                <a:gd name="connsiteY1" fmla="*/ 9181 h 9181"/>
                <a:gd name="connsiteX2" fmla="*/ 23962 w 23962"/>
                <a:gd name="connsiteY2" fmla="*/ 3012 h 9181"/>
              </a:gdLst>
              <a:ahLst/>
              <a:cxnLst>
                <a:cxn ang="0">
                  <a:pos x="connsiteX0" y="connsiteY0"/>
                </a:cxn>
                <a:cxn ang="0">
                  <a:pos x="connsiteX1" y="connsiteY1"/>
                </a:cxn>
                <a:cxn ang="0">
                  <a:pos x="connsiteX2" y="connsiteY2"/>
                </a:cxn>
              </a:cxnLst>
              <a:rect l="l" t="t" r="r" b="b"/>
              <a:pathLst>
                <a:path w="23962" h="9181">
                  <a:moveTo>
                    <a:pt x="23962" y="3012"/>
                  </a:moveTo>
                  <a:cubicBezTo>
                    <a:pt x="17524" y="10970"/>
                    <a:pt x="7510" y="5158"/>
                    <a:pt x="0" y="9181"/>
                  </a:cubicBezTo>
                  <a:cubicBezTo>
                    <a:pt x="4560" y="-6198"/>
                    <a:pt x="15200" y="2207"/>
                    <a:pt x="23962" y="30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0" name="Freeform: Shape 209">
              <a:extLst>
                <a:ext uri="{FF2B5EF4-FFF2-40B4-BE49-F238E27FC236}">
                  <a16:creationId xmlns:a16="http://schemas.microsoft.com/office/drawing/2014/main" id="{86E99C8D-E1D8-7AB5-3D22-A90365B6C73C}"/>
                </a:ext>
              </a:extLst>
            </p:cNvPr>
            <p:cNvSpPr/>
            <p:nvPr/>
          </p:nvSpPr>
          <p:spPr>
            <a:xfrm>
              <a:off x="13682771" y="7151788"/>
              <a:ext cx="26583" cy="22518"/>
            </a:xfrm>
            <a:custGeom>
              <a:avLst/>
              <a:gdLst>
                <a:gd name="connsiteX0" fmla="*/ 12143 w 18235"/>
                <a:gd name="connsiteY0" fmla="*/ 0 h 15446"/>
                <a:gd name="connsiteX1" fmla="*/ 13841 w 18235"/>
                <a:gd name="connsiteY1" fmla="*/ 14395 h 15446"/>
                <a:gd name="connsiteX2" fmla="*/ 341 w 18235"/>
                <a:gd name="connsiteY2" fmla="*/ 626 h 15446"/>
                <a:gd name="connsiteX3" fmla="*/ 12232 w 18235"/>
                <a:gd name="connsiteY3" fmla="*/ 0 h 15446"/>
              </a:gdLst>
              <a:ahLst/>
              <a:cxnLst>
                <a:cxn ang="0">
                  <a:pos x="connsiteX0" y="connsiteY0"/>
                </a:cxn>
                <a:cxn ang="0">
                  <a:pos x="connsiteX1" y="connsiteY1"/>
                </a:cxn>
                <a:cxn ang="0">
                  <a:pos x="connsiteX2" y="connsiteY2"/>
                </a:cxn>
                <a:cxn ang="0">
                  <a:pos x="connsiteX3" y="connsiteY3"/>
                </a:cxn>
              </a:cxnLst>
              <a:rect l="l" t="t" r="r" b="b"/>
              <a:pathLst>
                <a:path w="18235" h="15446">
                  <a:moveTo>
                    <a:pt x="12143" y="0"/>
                  </a:moveTo>
                  <a:cubicBezTo>
                    <a:pt x="15272" y="4650"/>
                    <a:pt x="23140" y="10908"/>
                    <a:pt x="13841" y="14395"/>
                  </a:cubicBezTo>
                  <a:cubicBezTo>
                    <a:pt x="3917" y="18151"/>
                    <a:pt x="-1448" y="11445"/>
                    <a:pt x="341" y="626"/>
                  </a:cubicBezTo>
                  <a:cubicBezTo>
                    <a:pt x="4275" y="447"/>
                    <a:pt x="8209" y="179"/>
                    <a:pt x="1223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1" name="Freeform: Shape 210">
              <a:extLst>
                <a:ext uri="{FF2B5EF4-FFF2-40B4-BE49-F238E27FC236}">
                  <a16:creationId xmlns:a16="http://schemas.microsoft.com/office/drawing/2014/main" id="{5783DF9F-044F-7F12-AF46-3D995C7299B8}"/>
                </a:ext>
              </a:extLst>
            </p:cNvPr>
            <p:cNvSpPr/>
            <p:nvPr/>
          </p:nvSpPr>
          <p:spPr>
            <a:xfrm>
              <a:off x="14156290" y="4107007"/>
              <a:ext cx="191352" cy="528364"/>
            </a:xfrm>
            <a:custGeom>
              <a:avLst/>
              <a:gdLst>
                <a:gd name="connsiteX0" fmla="*/ 104346 w 131259"/>
                <a:gd name="connsiteY0" fmla="*/ 348271 h 362433"/>
                <a:gd name="connsiteX1" fmla="*/ 90845 w 131259"/>
                <a:gd name="connsiteY1" fmla="*/ 358285 h 362433"/>
                <a:gd name="connsiteX2" fmla="*/ 79490 w 131259"/>
                <a:gd name="connsiteY2" fmla="*/ 338972 h 362433"/>
                <a:gd name="connsiteX3" fmla="*/ 35142 w 131259"/>
                <a:gd name="connsiteY3" fmla="*/ 199758 h 362433"/>
                <a:gd name="connsiteX4" fmla="*/ 33890 w 131259"/>
                <a:gd name="connsiteY4" fmla="*/ 196897 h 362433"/>
                <a:gd name="connsiteX5" fmla="*/ 3 w 131259"/>
                <a:gd name="connsiteY5" fmla="*/ 59740 h 362433"/>
                <a:gd name="connsiteX6" fmla="*/ 3848 w 131259"/>
                <a:gd name="connsiteY6" fmla="*/ 9937 h 362433"/>
                <a:gd name="connsiteX7" fmla="*/ 18691 w 131259"/>
                <a:gd name="connsiteY7" fmla="*/ 13 h 362433"/>
                <a:gd name="connsiteX8" fmla="*/ 25038 w 131259"/>
                <a:gd name="connsiteY8" fmla="*/ 11994 h 362433"/>
                <a:gd name="connsiteX9" fmla="*/ 39523 w 131259"/>
                <a:gd name="connsiteY9" fmla="*/ 39175 h 362433"/>
                <a:gd name="connsiteX10" fmla="*/ 49716 w 131259"/>
                <a:gd name="connsiteY10" fmla="*/ 57415 h 362433"/>
                <a:gd name="connsiteX11" fmla="*/ 86107 w 131259"/>
                <a:gd name="connsiteY11" fmla="*/ 161311 h 362433"/>
                <a:gd name="connsiteX12" fmla="*/ 131259 w 131259"/>
                <a:gd name="connsiteY12" fmla="*/ 232125 h 362433"/>
                <a:gd name="connsiteX13" fmla="*/ 89951 w 131259"/>
                <a:gd name="connsiteY13" fmla="*/ 220233 h 362433"/>
                <a:gd name="connsiteX14" fmla="*/ 83066 w 131259"/>
                <a:gd name="connsiteY14" fmla="*/ 259753 h 362433"/>
                <a:gd name="connsiteX15" fmla="*/ 117580 w 131259"/>
                <a:gd name="connsiteY15" fmla="*/ 335038 h 362433"/>
                <a:gd name="connsiteX16" fmla="*/ 104257 w 131259"/>
                <a:gd name="connsiteY16" fmla="*/ 348092 h 36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1259" h="362433">
                  <a:moveTo>
                    <a:pt x="104346" y="348271"/>
                  </a:moveTo>
                  <a:cubicBezTo>
                    <a:pt x="101843" y="354530"/>
                    <a:pt x="105151" y="369730"/>
                    <a:pt x="90845" y="358285"/>
                  </a:cubicBezTo>
                  <a:cubicBezTo>
                    <a:pt x="85302" y="353814"/>
                    <a:pt x="80116" y="345857"/>
                    <a:pt x="79490" y="338972"/>
                  </a:cubicBezTo>
                  <a:cubicBezTo>
                    <a:pt x="74662" y="289259"/>
                    <a:pt x="58389" y="243480"/>
                    <a:pt x="35142" y="199758"/>
                  </a:cubicBezTo>
                  <a:cubicBezTo>
                    <a:pt x="34606" y="198775"/>
                    <a:pt x="33622" y="197434"/>
                    <a:pt x="33890" y="196897"/>
                  </a:cubicBezTo>
                  <a:cubicBezTo>
                    <a:pt x="64201" y="140747"/>
                    <a:pt x="-533" y="108201"/>
                    <a:pt x="3" y="59740"/>
                  </a:cubicBezTo>
                  <a:cubicBezTo>
                    <a:pt x="182" y="43288"/>
                    <a:pt x="11269" y="27730"/>
                    <a:pt x="3848" y="9937"/>
                  </a:cubicBezTo>
                  <a:cubicBezTo>
                    <a:pt x="2596" y="6897"/>
                    <a:pt x="11537" y="-345"/>
                    <a:pt x="18691" y="13"/>
                  </a:cubicBezTo>
                  <a:cubicBezTo>
                    <a:pt x="26290" y="370"/>
                    <a:pt x="26111" y="6450"/>
                    <a:pt x="25038" y="11994"/>
                  </a:cubicBezTo>
                  <a:cubicBezTo>
                    <a:pt x="22535" y="25048"/>
                    <a:pt x="31655" y="31754"/>
                    <a:pt x="39523" y="39175"/>
                  </a:cubicBezTo>
                  <a:cubicBezTo>
                    <a:pt x="44799" y="44182"/>
                    <a:pt x="53024" y="48027"/>
                    <a:pt x="49716" y="57415"/>
                  </a:cubicBezTo>
                  <a:cubicBezTo>
                    <a:pt x="34606" y="101227"/>
                    <a:pt x="74662" y="126441"/>
                    <a:pt x="86107" y="161311"/>
                  </a:cubicBezTo>
                  <a:cubicBezTo>
                    <a:pt x="93975" y="185184"/>
                    <a:pt x="96121" y="214511"/>
                    <a:pt x="131259" y="232125"/>
                  </a:cubicBezTo>
                  <a:cubicBezTo>
                    <a:pt x="108102" y="232125"/>
                    <a:pt x="101038" y="211829"/>
                    <a:pt x="89951" y="220233"/>
                  </a:cubicBezTo>
                  <a:cubicBezTo>
                    <a:pt x="78149" y="229175"/>
                    <a:pt x="80295" y="245895"/>
                    <a:pt x="83066" y="259753"/>
                  </a:cubicBezTo>
                  <a:cubicBezTo>
                    <a:pt x="88610" y="287471"/>
                    <a:pt x="95852" y="314652"/>
                    <a:pt x="117580" y="335038"/>
                  </a:cubicBezTo>
                  <a:cubicBezTo>
                    <a:pt x="121692" y="348003"/>
                    <a:pt x="107566" y="342638"/>
                    <a:pt x="104257" y="3480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2" name="Freeform: Shape 211">
              <a:extLst>
                <a:ext uri="{FF2B5EF4-FFF2-40B4-BE49-F238E27FC236}">
                  <a16:creationId xmlns:a16="http://schemas.microsoft.com/office/drawing/2014/main" id="{B8206D07-F303-B375-3EF4-238BA275C8AD}"/>
                </a:ext>
              </a:extLst>
            </p:cNvPr>
            <p:cNvSpPr/>
            <p:nvPr/>
          </p:nvSpPr>
          <p:spPr>
            <a:xfrm>
              <a:off x="14325616" y="4620199"/>
              <a:ext cx="38020" cy="24472"/>
            </a:xfrm>
            <a:custGeom>
              <a:avLst/>
              <a:gdLst>
                <a:gd name="connsiteX0" fmla="*/ 0 w 26080"/>
                <a:gd name="connsiteY0" fmla="*/ 13054 h 16786"/>
                <a:gd name="connsiteX1" fmla="*/ 13322 w 26080"/>
                <a:gd name="connsiteY1" fmla="*/ 0 h 16786"/>
                <a:gd name="connsiteX2" fmla="*/ 26019 w 26080"/>
                <a:gd name="connsiteY2" fmla="*/ 16273 h 16786"/>
                <a:gd name="connsiteX3" fmla="*/ 89 w 26080"/>
                <a:gd name="connsiteY3" fmla="*/ 13144 h 16786"/>
              </a:gdLst>
              <a:ahLst/>
              <a:cxnLst>
                <a:cxn ang="0">
                  <a:pos x="connsiteX0" y="connsiteY0"/>
                </a:cxn>
                <a:cxn ang="0">
                  <a:pos x="connsiteX1" y="connsiteY1"/>
                </a:cxn>
                <a:cxn ang="0">
                  <a:pos x="connsiteX2" y="connsiteY2"/>
                </a:cxn>
                <a:cxn ang="0">
                  <a:pos x="connsiteX3" y="connsiteY3"/>
                </a:cxn>
              </a:cxnLst>
              <a:rect l="l" t="t" r="r" b="b"/>
              <a:pathLst>
                <a:path w="26080" h="16786">
                  <a:moveTo>
                    <a:pt x="0" y="13054"/>
                  </a:moveTo>
                  <a:cubicBezTo>
                    <a:pt x="4471" y="8673"/>
                    <a:pt x="8852" y="4292"/>
                    <a:pt x="13322" y="0"/>
                  </a:cubicBezTo>
                  <a:cubicBezTo>
                    <a:pt x="21101" y="2325"/>
                    <a:pt x="26734" y="6348"/>
                    <a:pt x="26019" y="16273"/>
                  </a:cubicBezTo>
                  <a:cubicBezTo>
                    <a:pt x="16809" y="19492"/>
                    <a:pt x="9388" y="6259"/>
                    <a:pt x="89" y="1314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3" name="Freeform: Shape 212">
              <a:extLst>
                <a:ext uri="{FF2B5EF4-FFF2-40B4-BE49-F238E27FC236}">
                  <a16:creationId xmlns:a16="http://schemas.microsoft.com/office/drawing/2014/main" id="{5ED03448-BE84-C9E8-0FE5-77DB4D3C03A2}"/>
                </a:ext>
              </a:extLst>
            </p:cNvPr>
            <p:cNvSpPr/>
            <p:nvPr/>
          </p:nvSpPr>
          <p:spPr>
            <a:xfrm>
              <a:off x="3585201" y="4505776"/>
              <a:ext cx="183265" cy="125569"/>
            </a:xfrm>
            <a:custGeom>
              <a:avLst/>
              <a:gdLst>
                <a:gd name="connsiteX0" fmla="*/ 84941 w 125712"/>
                <a:gd name="connsiteY0" fmla="*/ 23680 h 86134"/>
                <a:gd name="connsiteX1" fmla="*/ 125713 w 125712"/>
                <a:gd name="connsiteY1" fmla="*/ 55511 h 86134"/>
                <a:gd name="connsiteX2" fmla="*/ 92452 w 125712"/>
                <a:gd name="connsiteY2" fmla="*/ 83496 h 86134"/>
                <a:gd name="connsiteX3" fmla="*/ 31473 w 125712"/>
                <a:gd name="connsiteY3" fmla="*/ 30028 h 86134"/>
                <a:gd name="connsiteX4" fmla="*/ 8315 w 125712"/>
                <a:gd name="connsiteY4" fmla="*/ 20819 h 86134"/>
                <a:gd name="connsiteX5" fmla="*/ 0 w 125712"/>
                <a:gd name="connsiteY5" fmla="*/ 9911 h 86134"/>
                <a:gd name="connsiteX6" fmla="*/ 20654 w 125712"/>
                <a:gd name="connsiteY6" fmla="*/ 3384 h 86134"/>
                <a:gd name="connsiteX7" fmla="*/ 20654 w 125712"/>
                <a:gd name="connsiteY7" fmla="*/ 3384 h 86134"/>
                <a:gd name="connsiteX8" fmla="*/ 84941 w 125712"/>
                <a:gd name="connsiteY8" fmla="*/ 23680 h 8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12" h="86134">
                  <a:moveTo>
                    <a:pt x="84941" y="23680"/>
                  </a:moveTo>
                  <a:cubicBezTo>
                    <a:pt x="95760" y="37807"/>
                    <a:pt x="103807" y="55511"/>
                    <a:pt x="125713" y="55511"/>
                  </a:cubicBezTo>
                  <a:cubicBezTo>
                    <a:pt x="125534" y="81914"/>
                    <a:pt x="114447" y="91248"/>
                    <a:pt x="92452" y="83496"/>
                  </a:cubicBezTo>
                  <a:cubicBezTo>
                    <a:pt x="62767" y="76343"/>
                    <a:pt x="53021" y="46480"/>
                    <a:pt x="31473" y="30028"/>
                  </a:cubicBezTo>
                  <a:cubicBezTo>
                    <a:pt x="24320" y="25379"/>
                    <a:pt x="13501" y="30207"/>
                    <a:pt x="8315" y="20819"/>
                  </a:cubicBezTo>
                  <a:cubicBezTo>
                    <a:pt x="5543" y="17153"/>
                    <a:pt x="2772" y="13577"/>
                    <a:pt x="0" y="9911"/>
                  </a:cubicBezTo>
                  <a:cubicBezTo>
                    <a:pt x="2951" y="-4842"/>
                    <a:pt x="12160" y="433"/>
                    <a:pt x="20654" y="3384"/>
                  </a:cubicBezTo>
                  <a:lnTo>
                    <a:pt x="20654" y="3384"/>
                  </a:lnTo>
                  <a:cubicBezTo>
                    <a:pt x="42113" y="10179"/>
                    <a:pt x="63482" y="16885"/>
                    <a:pt x="84941" y="2368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4" name="Freeform: Shape 213">
              <a:extLst>
                <a:ext uri="{FF2B5EF4-FFF2-40B4-BE49-F238E27FC236}">
                  <a16:creationId xmlns:a16="http://schemas.microsoft.com/office/drawing/2014/main" id="{57672619-5798-E522-A9E6-04DB8AC86F0D}"/>
                </a:ext>
              </a:extLst>
            </p:cNvPr>
            <p:cNvSpPr/>
            <p:nvPr/>
          </p:nvSpPr>
          <p:spPr>
            <a:xfrm>
              <a:off x="2512434" y="4065886"/>
              <a:ext cx="111201" cy="66811"/>
            </a:xfrm>
            <a:custGeom>
              <a:avLst/>
              <a:gdLst>
                <a:gd name="connsiteX0" fmla="*/ 76279 w 76279"/>
                <a:gd name="connsiteY0" fmla="*/ 5956 h 45830"/>
                <a:gd name="connsiteX1" fmla="*/ 11098 w 76279"/>
                <a:gd name="connsiteY1" fmla="*/ 41809 h 45830"/>
                <a:gd name="connsiteX2" fmla="*/ 101 w 76279"/>
                <a:gd name="connsiteY2" fmla="*/ 28845 h 45830"/>
                <a:gd name="connsiteX3" fmla="*/ 10651 w 76279"/>
                <a:gd name="connsiteY3" fmla="*/ 19188 h 45830"/>
                <a:gd name="connsiteX4" fmla="*/ 44270 w 76279"/>
                <a:gd name="connsiteY4" fmla="*/ 3184 h 45830"/>
                <a:gd name="connsiteX5" fmla="*/ 76279 w 76279"/>
                <a:gd name="connsiteY5" fmla="*/ 5956 h 4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79" h="45830">
                  <a:moveTo>
                    <a:pt x="76279" y="5956"/>
                  </a:moveTo>
                  <a:cubicBezTo>
                    <a:pt x="65907" y="41094"/>
                    <a:pt x="44270" y="52897"/>
                    <a:pt x="11098" y="41809"/>
                  </a:cubicBezTo>
                  <a:cubicBezTo>
                    <a:pt x="4392" y="39574"/>
                    <a:pt x="-794" y="35998"/>
                    <a:pt x="101" y="28845"/>
                  </a:cubicBezTo>
                  <a:cubicBezTo>
                    <a:pt x="726" y="23838"/>
                    <a:pt x="6002" y="17043"/>
                    <a:pt x="10651" y="19188"/>
                  </a:cubicBezTo>
                  <a:cubicBezTo>
                    <a:pt x="29338" y="27951"/>
                    <a:pt x="32020" y="6045"/>
                    <a:pt x="44270" y="3184"/>
                  </a:cubicBezTo>
                  <a:cubicBezTo>
                    <a:pt x="55178" y="1127"/>
                    <a:pt x="66355" y="-4059"/>
                    <a:pt x="76279" y="595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5" name="Freeform: Shape 214">
              <a:extLst>
                <a:ext uri="{FF2B5EF4-FFF2-40B4-BE49-F238E27FC236}">
                  <a16:creationId xmlns:a16="http://schemas.microsoft.com/office/drawing/2014/main" id="{3791AD09-EE4F-A420-0319-B0AB2432F718}"/>
                </a:ext>
              </a:extLst>
            </p:cNvPr>
            <p:cNvSpPr/>
            <p:nvPr/>
          </p:nvSpPr>
          <p:spPr>
            <a:xfrm>
              <a:off x="3466715" y="4267482"/>
              <a:ext cx="46646" cy="70386"/>
            </a:xfrm>
            <a:custGeom>
              <a:avLst/>
              <a:gdLst>
                <a:gd name="connsiteX0" fmla="*/ 23962 w 31997"/>
                <a:gd name="connsiteY0" fmla="*/ 48282 h 48282"/>
                <a:gd name="connsiteX1" fmla="*/ 0 w 31997"/>
                <a:gd name="connsiteY1" fmla="*/ 0 h 48282"/>
                <a:gd name="connsiteX2" fmla="*/ 29774 w 31997"/>
                <a:gd name="connsiteY2" fmla="*/ 28791 h 48282"/>
                <a:gd name="connsiteX3" fmla="*/ 23962 w 31997"/>
                <a:gd name="connsiteY3" fmla="*/ 48193 h 48282"/>
              </a:gdLst>
              <a:ahLst/>
              <a:cxnLst>
                <a:cxn ang="0">
                  <a:pos x="connsiteX0" y="connsiteY0"/>
                </a:cxn>
                <a:cxn ang="0">
                  <a:pos x="connsiteX1" y="connsiteY1"/>
                </a:cxn>
                <a:cxn ang="0">
                  <a:pos x="connsiteX2" y="connsiteY2"/>
                </a:cxn>
                <a:cxn ang="0">
                  <a:pos x="connsiteX3" y="connsiteY3"/>
                </a:cxn>
              </a:cxnLst>
              <a:rect l="l" t="t" r="r" b="b"/>
              <a:pathLst>
                <a:path w="31997" h="48282">
                  <a:moveTo>
                    <a:pt x="23962" y="48282"/>
                  </a:moveTo>
                  <a:cubicBezTo>
                    <a:pt x="-6438" y="44348"/>
                    <a:pt x="11534" y="15021"/>
                    <a:pt x="0" y="0"/>
                  </a:cubicBezTo>
                  <a:cubicBezTo>
                    <a:pt x="12518" y="7242"/>
                    <a:pt x="39967" y="-2772"/>
                    <a:pt x="29774" y="28791"/>
                  </a:cubicBezTo>
                  <a:cubicBezTo>
                    <a:pt x="27539" y="35139"/>
                    <a:pt x="29148" y="42739"/>
                    <a:pt x="23962" y="481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6" name="Freeform: Shape 215">
              <a:extLst>
                <a:ext uri="{FF2B5EF4-FFF2-40B4-BE49-F238E27FC236}">
                  <a16:creationId xmlns:a16="http://schemas.microsoft.com/office/drawing/2014/main" id="{0BC6D62D-2818-E142-291A-52FF87020618}"/>
                </a:ext>
              </a:extLst>
            </p:cNvPr>
            <p:cNvSpPr/>
            <p:nvPr/>
          </p:nvSpPr>
          <p:spPr>
            <a:xfrm>
              <a:off x="3351195" y="3960091"/>
              <a:ext cx="42532" cy="48000"/>
            </a:xfrm>
            <a:custGeom>
              <a:avLst/>
              <a:gdLst>
                <a:gd name="connsiteX0" fmla="*/ 12630 w 29175"/>
                <a:gd name="connsiteY0" fmla="*/ 291 h 32926"/>
                <a:gd name="connsiteX1" fmla="*/ 29171 w 29175"/>
                <a:gd name="connsiteY1" fmla="*/ 3599 h 32926"/>
                <a:gd name="connsiteX2" fmla="*/ 11736 w 29175"/>
                <a:gd name="connsiteY2" fmla="*/ 32926 h 32926"/>
                <a:gd name="connsiteX3" fmla="*/ 12630 w 29175"/>
                <a:gd name="connsiteY3" fmla="*/ 291 h 32926"/>
              </a:gdLst>
              <a:ahLst/>
              <a:cxnLst>
                <a:cxn ang="0">
                  <a:pos x="connsiteX0" y="connsiteY0"/>
                </a:cxn>
                <a:cxn ang="0">
                  <a:pos x="connsiteX1" y="connsiteY1"/>
                </a:cxn>
                <a:cxn ang="0">
                  <a:pos x="connsiteX2" y="connsiteY2"/>
                </a:cxn>
                <a:cxn ang="0">
                  <a:pos x="connsiteX3" y="connsiteY3"/>
                </a:cxn>
              </a:cxnLst>
              <a:rect l="l" t="t" r="r" b="b"/>
              <a:pathLst>
                <a:path w="29175" h="32926">
                  <a:moveTo>
                    <a:pt x="12630" y="291"/>
                  </a:moveTo>
                  <a:cubicBezTo>
                    <a:pt x="18531" y="917"/>
                    <a:pt x="29439" y="-2212"/>
                    <a:pt x="29171" y="3599"/>
                  </a:cubicBezTo>
                  <a:cubicBezTo>
                    <a:pt x="28635" y="15044"/>
                    <a:pt x="25416" y="27919"/>
                    <a:pt x="11736" y="32926"/>
                  </a:cubicBezTo>
                  <a:cubicBezTo>
                    <a:pt x="-6593" y="21571"/>
                    <a:pt x="-1229" y="10752"/>
                    <a:pt x="12630" y="2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7" name="Freeform: Shape 216">
              <a:extLst>
                <a:ext uri="{FF2B5EF4-FFF2-40B4-BE49-F238E27FC236}">
                  <a16:creationId xmlns:a16="http://schemas.microsoft.com/office/drawing/2014/main" id="{4A731008-9A5D-AAF1-CCB2-E515CCCDFA6F}"/>
                </a:ext>
              </a:extLst>
            </p:cNvPr>
            <p:cNvSpPr/>
            <p:nvPr/>
          </p:nvSpPr>
          <p:spPr>
            <a:xfrm>
              <a:off x="3394766" y="4016083"/>
              <a:ext cx="32977" cy="46222"/>
            </a:xfrm>
            <a:custGeom>
              <a:avLst/>
              <a:gdLst>
                <a:gd name="connsiteX0" fmla="*/ 0 w 22621"/>
                <a:gd name="connsiteY0" fmla="*/ 5338 h 31705"/>
                <a:gd name="connsiteX1" fmla="*/ 22621 w 22621"/>
                <a:gd name="connsiteY1" fmla="*/ 18393 h 31705"/>
                <a:gd name="connsiteX2" fmla="*/ 2593 w 22621"/>
                <a:gd name="connsiteY2" fmla="*/ 24115 h 31705"/>
                <a:gd name="connsiteX3" fmla="*/ 89 w 22621"/>
                <a:gd name="connsiteY3" fmla="*/ 5338 h 31705"/>
              </a:gdLst>
              <a:ahLst/>
              <a:cxnLst>
                <a:cxn ang="0">
                  <a:pos x="connsiteX0" y="connsiteY0"/>
                </a:cxn>
                <a:cxn ang="0">
                  <a:pos x="connsiteX1" y="connsiteY1"/>
                </a:cxn>
                <a:cxn ang="0">
                  <a:pos x="connsiteX2" y="connsiteY2"/>
                </a:cxn>
                <a:cxn ang="0">
                  <a:pos x="connsiteX3" y="connsiteY3"/>
                </a:cxn>
              </a:cxnLst>
              <a:rect l="l" t="t" r="r" b="b"/>
              <a:pathLst>
                <a:path w="22621" h="31705">
                  <a:moveTo>
                    <a:pt x="0" y="5338"/>
                  </a:moveTo>
                  <a:cubicBezTo>
                    <a:pt x="18508" y="-9236"/>
                    <a:pt x="17525" y="9720"/>
                    <a:pt x="22621" y="18393"/>
                  </a:cubicBezTo>
                  <a:cubicBezTo>
                    <a:pt x="19134" y="31894"/>
                    <a:pt x="11892" y="37348"/>
                    <a:pt x="2593" y="24115"/>
                  </a:cubicBezTo>
                  <a:cubicBezTo>
                    <a:pt x="715" y="21522"/>
                    <a:pt x="5275" y="11418"/>
                    <a:pt x="89" y="53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8" name="Freeform: Shape 217">
              <a:extLst>
                <a:ext uri="{FF2B5EF4-FFF2-40B4-BE49-F238E27FC236}">
                  <a16:creationId xmlns:a16="http://schemas.microsoft.com/office/drawing/2014/main" id="{7914BA3C-03AF-BC05-8423-561613D8F6C9}"/>
                </a:ext>
              </a:extLst>
            </p:cNvPr>
            <p:cNvSpPr/>
            <p:nvPr/>
          </p:nvSpPr>
          <p:spPr>
            <a:xfrm>
              <a:off x="2596002" y="4006043"/>
              <a:ext cx="55658" cy="35369"/>
            </a:xfrm>
            <a:custGeom>
              <a:avLst/>
              <a:gdLst>
                <a:gd name="connsiteX0" fmla="*/ 0 w 38178"/>
                <a:gd name="connsiteY0" fmla="*/ 23758 h 24261"/>
                <a:gd name="connsiteX1" fmla="*/ 38179 w 38178"/>
                <a:gd name="connsiteY1" fmla="*/ 869 h 24261"/>
                <a:gd name="connsiteX2" fmla="*/ 0 w 38178"/>
                <a:gd name="connsiteY2" fmla="*/ 23758 h 24261"/>
              </a:gdLst>
              <a:ahLst/>
              <a:cxnLst>
                <a:cxn ang="0">
                  <a:pos x="connsiteX0" y="connsiteY0"/>
                </a:cxn>
                <a:cxn ang="0">
                  <a:pos x="connsiteX1" y="connsiteY1"/>
                </a:cxn>
                <a:cxn ang="0">
                  <a:pos x="connsiteX2" y="connsiteY2"/>
                </a:cxn>
              </a:cxnLst>
              <a:rect l="l" t="t" r="r" b="b"/>
              <a:pathLst>
                <a:path w="38178" h="24261">
                  <a:moveTo>
                    <a:pt x="0" y="23758"/>
                  </a:moveTo>
                  <a:cubicBezTo>
                    <a:pt x="11624" y="12403"/>
                    <a:pt x="16452" y="-3960"/>
                    <a:pt x="38179" y="869"/>
                  </a:cubicBezTo>
                  <a:cubicBezTo>
                    <a:pt x="28254" y="13476"/>
                    <a:pt x="21638" y="27066"/>
                    <a:pt x="0" y="2375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9" name="Freeform: Shape 218">
              <a:extLst>
                <a:ext uri="{FF2B5EF4-FFF2-40B4-BE49-F238E27FC236}">
                  <a16:creationId xmlns:a16="http://schemas.microsoft.com/office/drawing/2014/main" id="{356E62DA-5E00-2538-9BFC-9431C154BDB1}"/>
                </a:ext>
              </a:extLst>
            </p:cNvPr>
            <p:cNvSpPr/>
            <p:nvPr/>
          </p:nvSpPr>
          <p:spPr>
            <a:xfrm>
              <a:off x="14588576" y="8421231"/>
              <a:ext cx="89494" cy="38321"/>
            </a:xfrm>
            <a:custGeom>
              <a:avLst/>
              <a:gdLst>
                <a:gd name="connsiteX0" fmla="*/ 33225 w 61389"/>
                <a:gd name="connsiteY0" fmla="*/ 268 h 26287"/>
                <a:gd name="connsiteX1" fmla="*/ 61390 w 61389"/>
                <a:gd name="connsiteY1" fmla="*/ 12249 h 26287"/>
                <a:gd name="connsiteX2" fmla="*/ 42256 w 61389"/>
                <a:gd name="connsiteY2" fmla="*/ 26019 h 26287"/>
                <a:gd name="connsiteX3" fmla="*/ 9531 w 61389"/>
                <a:gd name="connsiteY3" fmla="*/ 26287 h 26287"/>
                <a:gd name="connsiteX4" fmla="*/ 3004 w 61389"/>
                <a:gd name="connsiteY4" fmla="*/ 10998 h 26287"/>
                <a:gd name="connsiteX5" fmla="*/ 32152 w 61389"/>
                <a:gd name="connsiteY5" fmla="*/ 0 h 26287"/>
                <a:gd name="connsiteX6" fmla="*/ 33315 w 61389"/>
                <a:gd name="connsiteY6" fmla="*/ 268 h 2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89" h="26287">
                  <a:moveTo>
                    <a:pt x="33225" y="268"/>
                  </a:moveTo>
                  <a:cubicBezTo>
                    <a:pt x="40914" y="8226"/>
                    <a:pt x="56114" y="-1609"/>
                    <a:pt x="61390" y="12249"/>
                  </a:cubicBezTo>
                  <a:cubicBezTo>
                    <a:pt x="55042" y="16809"/>
                    <a:pt x="48604" y="21459"/>
                    <a:pt x="42256" y="26019"/>
                  </a:cubicBezTo>
                  <a:cubicBezTo>
                    <a:pt x="31347" y="26108"/>
                    <a:pt x="20439" y="26198"/>
                    <a:pt x="9531" y="26287"/>
                  </a:cubicBezTo>
                  <a:cubicBezTo>
                    <a:pt x="6670" y="21459"/>
                    <a:pt x="-5580" y="20654"/>
                    <a:pt x="3004" y="10998"/>
                  </a:cubicBezTo>
                  <a:cubicBezTo>
                    <a:pt x="9889" y="0"/>
                    <a:pt x="22675" y="4292"/>
                    <a:pt x="32152" y="0"/>
                  </a:cubicBezTo>
                  <a:lnTo>
                    <a:pt x="33315" y="268"/>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0" name="Freeform: Shape 219">
              <a:extLst>
                <a:ext uri="{FF2B5EF4-FFF2-40B4-BE49-F238E27FC236}">
                  <a16:creationId xmlns:a16="http://schemas.microsoft.com/office/drawing/2014/main" id="{05784A7F-ED6F-4BBB-88A9-9A985B77E140}"/>
                </a:ext>
              </a:extLst>
            </p:cNvPr>
            <p:cNvSpPr/>
            <p:nvPr/>
          </p:nvSpPr>
          <p:spPr>
            <a:xfrm>
              <a:off x="15856087" y="8704473"/>
              <a:ext cx="430324" cy="399705"/>
            </a:xfrm>
            <a:custGeom>
              <a:avLst/>
              <a:gdLst>
                <a:gd name="connsiteX0" fmla="*/ 146226 w 295182"/>
                <a:gd name="connsiteY0" fmla="*/ 239802 h 274179"/>
                <a:gd name="connsiteX1" fmla="*/ 125660 w 295182"/>
                <a:gd name="connsiteY1" fmla="*/ 256522 h 274179"/>
                <a:gd name="connsiteX2" fmla="*/ 113322 w 295182"/>
                <a:gd name="connsiteY2" fmla="*/ 273510 h 274179"/>
                <a:gd name="connsiteX3" fmla="*/ 113322 w 295182"/>
                <a:gd name="connsiteY3" fmla="*/ 273510 h 274179"/>
                <a:gd name="connsiteX4" fmla="*/ 13360 w 295182"/>
                <a:gd name="connsiteY4" fmla="*/ 251962 h 274179"/>
                <a:gd name="connsiteX5" fmla="*/ 11750 w 295182"/>
                <a:gd name="connsiteY5" fmla="*/ 223350 h 274179"/>
                <a:gd name="connsiteX6" fmla="*/ 123783 w 295182"/>
                <a:gd name="connsiteY6" fmla="*/ 135816 h 274179"/>
                <a:gd name="connsiteX7" fmla="*/ 229646 w 295182"/>
                <a:gd name="connsiteY7" fmla="*/ 0 h 274179"/>
                <a:gd name="connsiteX8" fmla="*/ 288390 w 295182"/>
                <a:gd name="connsiteY8" fmla="*/ 35139 h 274179"/>
                <a:gd name="connsiteX9" fmla="*/ 291698 w 295182"/>
                <a:gd name="connsiteY9" fmla="*/ 53647 h 274179"/>
                <a:gd name="connsiteX10" fmla="*/ 232150 w 295182"/>
                <a:gd name="connsiteY10" fmla="*/ 121242 h 274179"/>
                <a:gd name="connsiteX11" fmla="*/ 174658 w 295182"/>
                <a:gd name="connsiteY11" fmla="*/ 182668 h 274179"/>
                <a:gd name="connsiteX12" fmla="*/ 155077 w 295182"/>
                <a:gd name="connsiteY12" fmla="*/ 210833 h 274179"/>
                <a:gd name="connsiteX13" fmla="*/ 146136 w 295182"/>
                <a:gd name="connsiteY13" fmla="*/ 239891 h 27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5182" h="274179">
                  <a:moveTo>
                    <a:pt x="146226" y="239802"/>
                  </a:moveTo>
                  <a:cubicBezTo>
                    <a:pt x="139430" y="245435"/>
                    <a:pt x="138983" y="258310"/>
                    <a:pt x="125660" y="256522"/>
                  </a:cubicBezTo>
                  <a:cubicBezTo>
                    <a:pt x="111981" y="254645"/>
                    <a:pt x="114217" y="265463"/>
                    <a:pt x="113322" y="273510"/>
                  </a:cubicBezTo>
                  <a:lnTo>
                    <a:pt x="113322" y="273510"/>
                  </a:lnTo>
                  <a:cubicBezTo>
                    <a:pt x="77646" y="277444"/>
                    <a:pt x="45548" y="263228"/>
                    <a:pt x="13360" y="251962"/>
                  </a:cubicBezTo>
                  <a:cubicBezTo>
                    <a:pt x="1736" y="247849"/>
                    <a:pt x="-8993" y="238461"/>
                    <a:pt x="11750" y="223350"/>
                  </a:cubicBezTo>
                  <a:cubicBezTo>
                    <a:pt x="49929" y="195454"/>
                    <a:pt x="85336" y="163981"/>
                    <a:pt x="123783" y="135816"/>
                  </a:cubicBezTo>
                  <a:cubicBezTo>
                    <a:pt x="168310" y="103181"/>
                    <a:pt x="209439" y="60621"/>
                    <a:pt x="229646" y="0"/>
                  </a:cubicBezTo>
                  <a:cubicBezTo>
                    <a:pt x="245383" y="22711"/>
                    <a:pt x="264875" y="32725"/>
                    <a:pt x="288390" y="35139"/>
                  </a:cubicBezTo>
                  <a:cubicBezTo>
                    <a:pt x="299746" y="39431"/>
                    <a:pt x="293934" y="46852"/>
                    <a:pt x="291698" y="53647"/>
                  </a:cubicBezTo>
                  <a:cubicBezTo>
                    <a:pt x="268898" y="73765"/>
                    <a:pt x="244310" y="97459"/>
                    <a:pt x="232150" y="121242"/>
                  </a:cubicBezTo>
                  <a:cubicBezTo>
                    <a:pt x="217486" y="149854"/>
                    <a:pt x="209708" y="175247"/>
                    <a:pt x="174658" y="182668"/>
                  </a:cubicBezTo>
                  <a:cubicBezTo>
                    <a:pt x="172602" y="183115"/>
                    <a:pt x="153379" y="195722"/>
                    <a:pt x="155077" y="210833"/>
                  </a:cubicBezTo>
                  <a:cubicBezTo>
                    <a:pt x="164376" y="224244"/>
                    <a:pt x="139520" y="227195"/>
                    <a:pt x="146136" y="2398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1" name="Freeform: Shape 220">
              <a:extLst>
                <a:ext uri="{FF2B5EF4-FFF2-40B4-BE49-F238E27FC236}">
                  <a16:creationId xmlns:a16="http://schemas.microsoft.com/office/drawing/2014/main" id="{0233EA00-BF21-71D0-D7F1-EEA4DD22E2ED}"/>
                </a:ext>
              </a:extLst>
            </p:cNvPr>
            <p:cNvSpPr/>
            <p:nvPr/>
          </p:nvSpPr>
          <p:spPr>
            <a:xfrm>
              <a:off x="16238839" y="8314701"/>
              <a:ext cx="95543" cy="139765"/>
            </a:xfrm>
            <a:custGeom>
              <a:avLst/>
              <a:gdLst>
                <a:gd name="connsiteX0" fmla="*/ 65538 w 65538"/>
                <a:gd name="connsiteY0" fmla="*/ 82730 h 95873"/>
                <a:gd name="connsiteX1" fmla="*/ 52485 w 65538"/>
                <a:gd name="connsiteY1" fmla="*/ 95874 h 95873"/>
                <a:gd name="connsiteX2" fmla="*/ 45868 w 65538"/>
                <a:gd name="connsiteY2" fmla="*/ 83178 h 95873"/>
                <a:gd name="connsiteX3" fmla="*/ 0 w 65538"/>
                <a:gd name="connsiteY3" fmla="*/ 4048 h 95873"/>
                <a:gd name="connsiteX4" fmla="*/ 25930 w 65538"/>
                <a:gd name="connsiteY4" fmla="*/ 5300 h 95873"/>
                <a:gd name="connsiteX5" fmla="*/ 37552 w 65538"/>
                <a:gd name="connsiteY5" fmla="*/ 19785 h 95873"/>
                <a:gd name="connsiteX6" fmla="*/ 59548 w 65538"/>
                <a:gd name="connsiteY6" fmla="*/ 65742 h 95873"/>
                <a:gd name="connsiteX7" fmla="*/ 65538 w 65538"/>
                <a:gd name="connsiteY7" fmla="*/ 82730 h 9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38" h="95873">
                  <a:moveTo>
                    <a:pt x="65538" y="82730"/>
                  </a:moveTo>
                  <a:cubicBezTo>
                    <a:pt x="61157" y="87112"/>
                    <a:pt x="56866" y="91493"/>
                    <a:pt x="52485" y="95874"/>
                  </a:cubicBezTo>
                  <a:cubicBezTo>
                    <a:pt x="47835" y="92923"/>
                    <a:pt x="50428" y="86218"/>
                    <a:pt x="45868" y="83178"/>
                  </a:cubicBezTo>
                  <a:cubicBezTo>
                    <a:pt x="35049" y="54208"/>
                    <a:pt x="3487" y="37220"/>
                    <a:pt x="0" y="4048"/>
                  </a:cubicBezTo>
                  <a:cubicBezTo>
                    <a:pt x="8941" y="-1585"/>
                    <a:pt x="17614" y="-1495"/>
                    <a:pt x="25930" y="5300"/>
                  </a:cubicBezTo>
                  <a:cubicBezTo>
                    <a:pt x="29774" y="10307"/>
                    <a:pt x="32546" y="17818"/>
                    <a:pt x="37552" y="19785"/>
                  </a:cubicBezTo>
                  <a:cubicBezTo>
                    <a:pt x="59905" y="28458"/>
                    <a:pt x="70725" y="40886"/>
                    <a:pt x="59548" y="65742"/>
                  </a:cubicBezTo>
                  <a:cubicBezTo>
                    <a:pt x="57760" y="69676"/>
                    <a:pt x="63392" y="77008"/>
                    <a:pt x="65538" y="8273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2" name="Freeform: Shape 221">
              <a:extLst>
                <a:ext uri="{FF2B5EF4-FFF2-40B4-BE49-F238E27FC236}">
                  <a16:creationId xmlns:a16="http://schemas.microsoft.com/office/drawing/2014/main" id="{19AC7160-C1D6-3D5B-CE53-57DF57948805}"/>
                </a:ext>
              </a:extLst>
            </p:cNvPr>
            <p:cNvSpPr/>
            <p:nvPr/>
          </p:nvSpPr>
          <p:spPr>
            <a:xfrm>
              <a:off x="9063994" y="4080564"/>
              <a:ext cx="46971" cy="53329"/>
            </a:xfrm>
            <a:custGeom>
              <a:avLst/>
              <a:gdLst>
                <a:gd name="connsiteX0" fmla="*/ 14523 w 32220"/>
                <a:gd name="connsiteY0" fmla="*/ 0 h 36581"/>
                <a:gd name="connsiteX1" fmla="*/ 31959 w 32220"/>
                <a:gd name="connsiteY1" fmla="*/ 22353 h 36581"/>
                <a:gd name="connsiteX2" fmla="*/ 18994 w 32220"/>
                <a:gd name="connsiteY2" fmla="*/ 36480 h 36581"/>
                <a:gd name="connsiteX3" fmla="*/ 575 w 32220"/>
                <a:gd name="connsiteY3" fmla="*/ 16273 h 36581"/>
                <a:gd name="connsiteX4" fmla="*/ 14523 w 32220"/>
                <a:gd name="connsiteY4" fmla="*/ 0 h 36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0" h="36581">
                  <a:moveTo>
                    <a:pt x="14523" y="0"/>
                  </a:moveTo>
                  <a:cubicBezTo>
                    <a:pt x="28472" y="3308"/>
                    <a:pt x="30170" y="13948"/>
                    <a:pt x="31959" y="22353"/>
                  </a:cubicBezTo>
                  <a:cubicBezTo>
                    <a:pt x="33568" y="29953"/>
                    <a:pt x="27577" y="37553"/>
                    <a:pt x="18994" y="36480"/>
                  </a:cubicBezTo>
                  <a:cubicBezTo>
                    <a:pt x="8354" y="35228"/>
                    <a:pt x="3257" y="25214"/>
                    <a:pt x="575" y="16273"/>
                  </a:cubicBezTo>
                  <a:cubicBezTo>
                    <a:pt x="-3359" y="2861"/>
                    <a:pt x="14165" y="9299"/>
                    <a:pt x="14523"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3" name="Freeform: Shape 222">
              <a:extLst>
                <a:ext uri="{FF2B5EF4-FFF2-40B4-BE49-F238E27FC236}">
                  <a16:creationId xmlns:a16="http://schemas.microsoft.com/office/drawing/2014/main" id="{B5A8EDD0-1263-4BEE-D8A5-B54EC5DC882D}"/>
                </a:ext>
              </a:extLst>
            </p:cNvPr>
            <p:cNvSpPr/>
            <p:nvPr/>
          </p:nvSpPr>
          <p:spPr>
            <a:xfrm>
              <a:off x="8982193" y="3946794"/>
              <a:ext cx="56737" cy="52174"/>
            </a:xfrm>
            <a:custGeom>
              <a:avLst/>
              <a:gdLst>
                <a:gd name="connsiteX0" fmla="*/ 179 w 38919"/>
                <a:gd name="connsiteY0" fmla="*/ 32749 h 35789"/>
                <a:gd name="connsiteX1" fmla="*/ 9925 w 38919"/>
                <a:gd name="connsiteY1" fmla="*/ 16476 h 35789"/>
                <a:gd name="connsiteX2" fmla="*/ 30668 w 38919"/>
                <a:gd name="connsiteY2" fmla="*/ 829 h 35789"/>
                <a:gd name="connsiteX3" fmla="*/ 38894 w 38919"/>
                <a:gd name="connsiteY3" fmla="*/ 23182 h 35789"/>
                <a:gd name="connsiteX4" fmla="*/ 16630 w 38919"/>
                <a:gd name="connsiteY4" fmla="*/ 33464 h 35789"/>
                <a:gd name="connsiteX5" fmla="*/ 10283 w 38919"/>
                <a:gd name="connsiteY5" fmla="*/ 34269 h 35789"/>
                <a:gd name="connsiteX6" fmla="*/ 0 w 38919"/>
                <a:gd name="connsiteY6" fmla="*/ 32838 h 3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19" h="35789">
                  <a:moveTo>
                    <a:pt x="179" y="32749"/>
                  </a:moveTo>
                  <a:cubicBezTo>
                    <a:pt x="3398" y="27295"/>
                    <a:pt x="5990" y="21304"/>
                    <a:pt x="9925" y="16476"/>
                  </a:cubicBezTo>
                  <a:cubicBezTo>
                    <a:pt x="15647" y="9412"/>
                    <a:pt x="19850" y="-3373"/>
                    <a:pt x="30668" y="829"/>
                  </a:cubicBezTo>
                  <a:cubicBezTo>
                    <a:pt x="35765" y="2796"/>
                    <a:pt x="39252" y="15493"/>
                    <a:pt x="38894" y="23182"/>
                  </a:cubicBezTo>
                  <a:cubicBezTo>
                    <a:pt x="38268" y="37935"/>
                    <a:pt x="25035" y="31855"/>
                    <a:pt x="16630" y="33464"/>
                  </a:cubicBezTo>
                  <a:cubicBezTo>
                    <a:pt x="14574" y="33822"/>
                    <a:pt x="12428" y="34001"/>
                    <a:pt x="10283" y="34269"/>
                  </a:cubicBezTo>
                  <a:cubicBezTo>
                    <a:pt x="6438" y="36683"/>
                    <a:pt x="3040" y="36236"/>
                    <a:pt x="0" y="328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4" name="Freeform: Shape 223">
              <a:extLst>
                <a:ext uri="{FF2B5EF4-FFF2-40B4-BE49-F238E27FC236}">
                  <a16:creationId xmlns:a16="http://schemas.microsoft.com/office/drawing/2014/main" id="{18A2EAD4-1F3A-D6D9-BF84-FD90841A5F1B}"/>
                </a:ext>
              </a:extLst>
            </p:cNvPr>
            <p:cNvSpPr/>
            <p:nvPr/>
          </p:nvSpPr>
          <p:spPr>
            <a:xfrm>
              <a:off x="9316308" y="3943181"/>
              <a:ext cx="29917" cy="60816"/>
            </a:xfrm>
            <a:custGeom>
              <a:avLst/>
              <a:gdLst>
                <a:gd name="connsiteX0" fmla="*/ 15891 w 20522"/>
                <a:gd name="connsiteY0" fmla="*/ 89 h 41717"/>
                <a:gd name="connsiteX1" fmla="*/ 10794 w 20522"/>
                <a:gd name="connsiteY1" fmla="*/ 41040 h 41717"/>
                <a:gd name="connsiteX2" fmla="*/ 2926 w 20522"/>
                <a:gd name="connsiteY2" fmla="*/ 40325 h 41717"/>
                <a:gd name="connsiteX3" fmla="*/ 15891 w 20522"/>
                <a:gd name="connsiteY3" fmla="*/ 0 h 41717"/>
              </a:gdLst>
              <a:ahLst/>
              <a:cxnLst>
                <a:cxn ang="0">
                  <a:pos x="connsiteX0" y="connsiteY0"/>
                </a:cxn>
                <a:cxn ang="0">
                  <a:pos x="connsiteX1" y="connsiteY1"/>
                </a:cxn>
                <a:cxn ang="0">
                  <a:pos x="connsiteX2" y="connsiteY2"/>
                </a:cxn>
                <a:cxn ang="0">
                  <a:pos x="connsiteX3" y="connsiteY3"/>
                </a:cxn>
              </a:cxnLst>
              <a:rect l="l" t="t" r="r" b="b"/>
              <a:pathLst>
                <a:path w="20522" h="41717">
                  <a:moveTo>
                    <a:pt x="15891" y="89"/>
                  </a:moveTo>
                  <a:cubicBezTo>
                    <a:pt x="23491" y="17972"/>
                    <a:pt x="21702" y="30400"/>
                    <a:pt x="10794" y="41040"/>
                  </a:cubicBezTo>
                  <a:cubicBezTo>
                    <a:pt x="9453" y="42292"/>
                    <a:pt x="3552" y="41666"/>
                    <a:pt x="2926" y="40325"/>
                  </a:cubicBezTo>
                  <a:cubicBezTo>
                    <a:pt x="-4674" y="25393"/>
                    <a:pt x="3552" y="14485"/>
                    <a:pt x="1589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5" name="Freeform: Shape 224">
              <a:extLst>
                <a:ext uri="{FF2B5EF4-FFF2-40B4-BE49-F238E27FC236}">
                  <a16:creationId xmlns:a16="http://schemas.microsoft.com/office/drawing/2014/main" id="{2D81F426-BCA6-459C-0A88-DAB7135EB684}"/>
                </a:ext>
              </a:extLst>
            </p:cNvPr>
            <p:cNvSpPr/>
            <p:nvPr/>
          </p:nvSpPr>
          <p:spPr>
            <a:xfrm>
              <a:off x="9442157" y="3896236"/>
              <a:ext cx="39917" cy="34238"/>
            </a:xfrm>
            <a:custGeom>
              <a:avLst/>
              <a:gdLst>
                <a:gd name="connsiteX0" fmla="*/ 27381 w 27381"/>
                <a:gd name="connsiteY0" fmla="*/ 8864 h 23485"/>
                <a:gd name="connsiteX1" fmla="*/ 11913 w 27381"/>
                <a:gd name="connsiteY1" fmla="*/ 22633 h 23485"/>
                <a:gd name="connsiteX2" fmla="*/ 379 w 27381"/>
                <a:gd name="connsiteY2" fmla="*/ 13245 h 23485"/>
                <a:gd name="connsiteX3" fmla="*/ 12986 w 27381"/>
                <a:gd name="connsiteY3" fmla="*/ 102 h 23485"/>
                <a:gd name="connsiteX4" fmla="*/ 27292 w 27381"/>
                <a:gd name="connsiteY4" fmla="*/ 8774 h 2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81" h="23485">
                  <a:moveTo>
                    <a:pt x="27381" y="8864"/>
                  </a:moveTo>
                  <a:cubicBezTo>
                    <a:pt x="26219" y="17894"/>
                    <a:pt x="19244" y="20219"/>
                    <a:pt x="11913" y="22633"/>
                  </a:cubicBezTo>
                  <a:cubicBezTo>
                    <a:pt x="2793" y="25584"/>
                    <a:pt x="1720" y="20487"/>
                    <a:pt x="379" y="13245"/>
                  </a:cubicBezTo>
                  <a:cubicBezTo>
                    <a:pt x="-1678" y="2069"/>
                    <a:pt x="4939" y="727"/>
                    <a:pt x="12986" y="102"/>
                  </a:cubicBezTo>
                  <a:cubicBezTo>
                    <a:pt x="19781" y="-346"/>
                    <a:pt x="25861" y="370"/>
                    <a:pt x="27292" y="877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6" name="Freeform: Shape 225">
              <a:extLst>
                <a:ext uri="{FF2B5EF4-FFF2-40B4-BE49-F238E27FC236}">
                  <a16:creationId xmlns:a16="http://schemas.microsoft.com/office/drawing/2014/main" id="{94F34F78-D69B-A0B6-6BA1-0C88633DC5E9}"/>
                </a:ext>
              </a:extLst>
            </p:cNvPr>
            <p:cNvSpPr/>
            <p:nvPr/>
          </p:nvSpPr>
          <p:spPr>
            <a:xfrm>
              <a:off x="9064141" y="4147056"/>
              <a:ext cx="23109" cy="17973"/>
            </a:xfrm>
            <a:custGeom>
              <a:avLst/>
              <a:gdLst>
                <a:gd name="connsiteX0" fmla="*/ 9057 w 15852"/>
                <a:gd name="connsiteY0" fmla="*/ 12329 h 12329"/>
                <a:gd name="connsiteX1" fmla="*/ 116 w 15852"/>
                <a:gd name="connsiteY1" fmla="*/ 4819 h 12329"/>
                <a:gd name="connsiteX2" fmla="*/ 6554 w 15852"/>
                <a:gd name="connsiteY2" fmla="*/ 437 h 12329"/>
                <a:gd name="connsiteX3" fmla="*/ 15853 w 15852"/>
                <a:gd name="connsiteY3" fmla="*/ 4193 h 12329"/>
                <a:gd name="connsiteX4" fmla="*/ 9057 w 15852"/>
                <a:gd name="connsiteY4" fmla="*/ 12329 h 12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2" h="12329">
                  <a:moveTo>
                    <a:pt x="9057" y="12329"/>
                  </a:moveTo>
                  <a:cubicBezTo>
                    <a:pt x="3603" y="11256"/>
                    <a:pt x="-778" y="10005"/>
                    <a:pt x="116" y="4819"/>
                  </a:cubicBezTo>
                  <a:cubicBezTo>
                    <a:pt x="474" y="2941"/>
                    <a:pt x="4140" y="885"/>
                    <a:pt x="6554" y="437"/>
                  </a:cubicBezTo>
                  <a:cubicBezTo>
                    <a:pt x="10130" y="-188"/>
                    <a:pt x="15763" y="-904"/>
                    <a:pt x="15853" y="4193"/>
                  </a:cubicBezTo>
                  <a:cubicBezTo>
                    <a:pt x="15853" y="7054"/>
                    <a:pt x="11204" y="9915"/>
                    <a:pt x="9057" y="123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7" name="Freeform: Shape 226">
              <a:extLst>
                <a:ext uri="{FF2B5EF4-FFF2-40B4-BE49-F238E27FC236}">
                  <a16:creationId xmlns:a16="http://schemas.microsoft.com/office/drawing/2014/main" id="{A1BD59BE-D3C2-B74A-F455-0C621697DED1}"/>
                </a:ext>
              </a:extLst>
            </p:cNvPr>
            <p:cNvSpPr/>
            <p:nvPr/>
          </p:nvSpPr>
          <p:spPr>
            <a:xfrm>
              <a:off x="9035733" y="4107580"/>
              <a:ext cx="18412" cy="22581"/>
            </a:xfrm>
            <a:custGeom>
              <a:avLst/>
              <a:gdLst>
                <a:gd name="connsiteX0" fmla="*/ 6103 w 12630"/>
                <a:gd name="connsiteY0" fmla="*/ 425 h 15489"/>
                <a:gd name="connsiteX1" fmla="*/ 12630 w 12630"/>
                <a:gd name="connsiteY1" fmla="*/ 9455 h 15489"/>
                <a:gd name="connsiteX2" fmla="*/ 4672 w 12630"/>
                <a:gd name="connsiteY2" fmla="*/ 14552 h 15489"/>
                <a:gd name="connsiteX3" fmla="*/ 22 w 12630"/>
                <a:gd name="connsiteY3" fmla="*/ 4627 h 15489"/>
                <a:gd name="connsiteX4" fmla="*/ 6013 w 12630"/>
                <a:gd name="connsiteY4" fmla="*/ 425 h 15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30" h="15489">
                  <a:moveTo>
                    <a:pt x="6103" y="425"/>
                  </a:moveTo>
                  <a:cubicBezTo>
                    <a:pt x="10573" y="1766"/>
                    <a:pt x="12540" y="4895"/>
                    <a:pt x="12630" y="9455"/>
                  </a:cubicBezTo>
                  <a:cubicBezTo>
                    <a:pt x="12719" y="15446"/>
                    <a:pt x="8070" y="16608"/>
                    <a:pt x="4672" y="14552"/>
                  </a:cubicBezTo>
                  <a:cubicBezTo>
                    <a:pt x="1990" y="12942"/>
                    <a:pt x="470" y="8203"/>
                    <a:pt x="22" y="4627"/>
                  </a:cubicBezTo>
                  <a:cubicBezTo>
                    <a:pt x="-246" y="2123"/>
                    <a:pt x="1900" y="-1185"/>
                    <a:pt x="6013" y="4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8" name="Freeform: Shape 227">
              <a:extLst>
                <a:ext uri="{FF2B5EF4-FFF2-40B4-BE49-F238E27FC236}">
                  <a16:creationId xmlns:a16="http://schemas.microsoft.com/office/drawing/2014/main" id="{850DEAF1-8089-DE74-435C-1E8B6DDA4183}"/>
                </a:ext>
              </a:extLst>
            </p:cNvPr>
            <p:cNvSpPr/>
            <p:nvPr/>
          </p:nvSpPr>
          <p:spPr>
            <a:xfrm>
              <a:off x="1913076" y="3869972"/>
              <a:ext cx="71961" cy="63953"/>
            </a:xfrm>
            <a:custGeom>
              <a:avLst/>
              <a:gdLst>
                <a:gd name="connsiteX0" fmla="*/ 32038 w 49362"/>
                <a:gd name="connsiteY0" fmla="*/ 43870 h 43869"/>
                <a:gd name="connsiteX1" fmla="*/ 29 w 49362"/>
                <a:gd name="connsiteY1" fmla="*/ 25272 h 43869"/>
                <a:gd name="connsiteX2" fmla="*/ 33379 w 49362"/>
                <a:gd name="connsiteY2" fmla="*/ 863 h 43869"/>
                <a:gd name="connsiteX3" fmla="*/ 49205 w 49362"/>
                <a:gd name="connsiteY3" fmla="*/ 19639 h 43869"/>
                <a:gd name="connsiteX4" fmla="*/ 31949 w 49362"/>
                <a:gd name="connsiteY4" fmla="*/ 43780 h 4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62" h="43869">
                  <a:moveTo>
                    <a:pt x="32038" y="43870"/>
                  </a:moveTo>
                  <a:cubicBezTo>
                    <a:pt x="15318" y="41098"/>
                    <a:pt x="-776" y="38416"/>
                    <a:pt x="29" y="25272"/>
                  </a:cubicBezTo>
                  <a:cubicBezTo>
                    <a:pt x="1012" y="9089"/>
                    <a:pt x="21398" y="6943"/>
                    <a:pt x="33379" y="863"/>
                  </a:cubicBezTo>
                  <a:cubicBezTo>
                    <a:pt x="42052" y="-3518"/>
                    <a:pt x="50636" y="9715"/>
                    <a:pt x="49205" y="19639"/>
                  </a:cubicBezTo>
                  <a:cubicBezTo>
                    <a:pt x="47685" y="31173"/>
                    <a:pt x="41069" y="41366"/>
                    <a:pt x="31949" y="4378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9" name="Freeform: Shape 228">
              <a:extLst>
                <a:ext uri="{FF2B5EF4-FFF2-40B4-BE49-F238E27FC236}">
                  <a16:creationId xmlns:a16="http://schemas.microsoft.com/office/drawing/2014/main" id="{C50EC672-F390-D5D3-BC32-8BC3F13FC0DC}"/>
                </a:ext>
              </a:extLst>
            </p:cNvPr>
            <p:cNvSpPr/>
            <p:nvPr/>
          </p:nvSpPr>
          <p:spPr>
            <a:xfrm>
              <a:off x="1823700" y="4441949"/>
              <a:ext cx="38712" cy="21970"/>
            </a:xfrm>
            <a:custGeom>
              <a:avLst/>
              <a:gdLst>
                <a:gd name="connsiteX0" fmla="*/ 0 w 26555"/>
                <a:gd name="connsiteY0" fmla="*/ 7825 h 15071"/>
                <a:gd name="connsiteX1" fmla="*/ 26555 w 26555"/>
                <a:gd name="connsiteY1" fmla="*/ 7646 h 15071"/>
                <a:gd name="connsiteX2" fmla="*/ 0 w 26555"/>
                <a:gd name="connsiteY2" fmla="*/ 7825 h 15071"/>
              </a:gdLst>
              <a:ahLst/>
              <a:cxnLst>
                <a:cxn ang="0">
                  <a:pos x="connsiteX0" y="connsiteY0"/>
                </a:cxn>
                <a:cxn ang="0">
                  <a:pos x="connsiteX1" y="connsiteY1"/>
                </a:cxn>
                <a:cxn ang="0">
                  <a:pos x="connsiteX2" y="connsiteY2"/>
                </a:cxn>
              </a:cxnLst>
              <a:rect l="l" t="t" r="r" b="b"/>
              <a:pathLst>
                <a:path w="26555" h="15071">
                  <a:moveTo>
                    <a:pt x="0" y="7825"/>
                  </a:moveTo>
                  <a:cubicBezTo>
                    <a:pt x="8852" y="6841"/>
                    <a:pt x="17614" y="-9164"/>
                    <a:pt x="26555" y="7646"/>
                  </a:cubicBezTo>
                  <a:cubicBezTo>
                    <a:pt x="17703" y="8451"/>
                    <a:pt x="8941" y="23829"/>
                    <a:pt x="0" y="78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0" name="Freeform: Shape 229">
              <a:extLst>
                <a:ext uri="{FF2B5EF4-FFF2-40B4-BE49-F238E27FC236}">
                  <a16:creationId xmlns:a16="http://schemas.microsoft.com/office/drawing/2014/main" id="{7200A15B-370C-F4A2-8D11-0929E79CB4CD}"/>
                </a:ext>
              </a:extLst>
            </p:cNvPr>
            <p:cNvSpPr/>
            <p:nvPr/>
          </p:nvSpPr>
          <p:spPr>
            <a:xfrm>
              <a:off x="5789194" y="9592263"/>
              <a:ext cx="191772" cy="122634"/>
            </a:xfrm>
            <a:custGeom>
              <a:avLst/>
              <a:gdLst>
                <a:gd name="connsiteX0" fmla="*/ 26668 w 131547"/>
                <a:gd name="connsiteY0" fmla="*/ 0 h 84121"/>
                <a:gd name="connsiteX1" fmla="*/ 41331 w 131547"/>
                <a:gd name="connsiteY1" fmla="*/ 8047 h 84121"/>
                <a:gd name="connsiteX2" fmla="*/ 107049 w 131547"/>
                <a:gd name="connsiteY2" fmla="*/ 52127 h 84121"/>
                <a:gd name="connsiteX3" fmla="*/ 131548 w 131547"/>
                <a:gd name="connsiteY3" fmla="*/ 65091 h 84121"/>
                <a:gd name="connsiteX4" fmla="*/ 44282 w 131547"/>
                <a:gd name="connsiteY4" fmla="*/ 83957 h 84121"/>
                <a:gd name="connsiteX5" fmla="*/ 27383 w 131547"/>
                <a:gd name="connsiteY5" fmla="*/ 66522 h 84121"/>
                <a:gd name="connsiteX6" fmla="*/ 917 w 131547"/>
                <a:gd name="connsiteY6" fmla="*/ 12696 h 84121"/>
                <a:gd name="connsiteX7" fmla="*/ 26668 w 131547"/>
                <a:gd name="connsiteY7" fmla="*/ 0 h 84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547" h="84121">
                  <a:moveTo>
                    <a:pt x="26668" y="0"/>
                  </a:moveTo>
                  <a:cubicBezTo>
                    <a:pt x="32658" y="715"/>
                    <a:pt x="39186" y="447"/>
                    <a:pt x="41331" y="8047"/>
                  </a:cubicBezTo>
                  <a:cubicBezTo>
                    <a:pt x="56531" y="32724"/>
                    <a:pt x="81835" y="42559"/>
                    <a:pt x="107049" y="52127"/>
                  </a:cubicBezTo>
                  <a:cubicBezTo>
                    <a:pt x="115901" y="55435"/>
                    <a:pt x="126720" y="54272"/>
                    <a:pt x="131548" y="65091"/>
                  </a:cubicBezTo>
                  <a:cubicBezTo>
                    <a:pt x="101774" y="68132"/>
                    <a:pt x="75218" y="86014"/>
                    <a:pt x="44282" y="83957"/>
                  </a:cubicBezTo>
                  <a:cubicBezTo>
                    <a:pt x="35609" y="81096"/>
                    <a:pt x="26400" y="78772"/>
                    <a:pt x="27383" y="66522"/>
                  </a:cubicBezTo>
                  <a:cubicBezTo>
                    <a:pt x="23092" y="46315"/>
                    <a:pt x="-5431" y="38089"/>
                    <a:pt x="917" y="12696"/>
                  </a:cubicBezTo>
                  <a:cubicBezTo>
                    <a:pt x="9501" y="8494"/>
                    <a:pt x="18084" y="4202"/>
                    <a:pt x="26668"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1" name="Freeform: Shape 230">
              <a:extLst>
                <a:ext uri="{FF2B5EF4-FFF2-40B4-BE49-F238E27FC236}">
                  <a16:creationId xmlns:a16="http://schemas.microsoft.com/office/drawing/2014/main" id="{42381695-03FC-7413-93E9-32C41EC1FD38}"/>
                </a:ext>
              </a:extLst>
            </p:cNvPr>
            <p:cNvSpPr/>
            <p:nvPr/>
          </p:nvSpPr>
          <p:spPr>
            <a:xfrm>
              <a:off x="5719234" y="9696216"/>
              <a:ext cx="111186" cy="25220"/>
            </a:xfrm>
            <a:custGeom>
              <a:avLst/>
              <a:gdLst>
                <a:gd name="connsiteX0" fmla="*/ 76268 w 76268"/>
                <a:gd name="connsiteY0" fmla="*/ 15154 h 17299"/>
                <a:gd name="connsiteX1" fmla="*/ 10908 w 76268"/>
                <a:gd name="connsiteY1" fmla="*/ 17300 h 17299"/>
                <a:gd name="connsiteX2" fmla="*/ 0 w 76268"/>
                <a:gd name="connsiteY2" fmla="*/ 15422 h 17299"/>
                <a:gd name="connsiteX3" fmla="*/ 4202 w 76268"/>
                <a:gd name="connsiteY3" fmla="*/ 2726 h 17299"/>
                <a:gd name="connsiteX4" fmla="*/ 63393 w 76268"/>
                <a:gd name="connsiteY4" fmla="*/ 3799 h 17299"/>
                <a:gd name="connsiteX5" fmla="*/ 76179 w 76268"/>
                <a:gd name="connsiteY5" fmla="*/ 15154 h 1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68" h="17299">
                  <a:moveTo>
                    <a:pt x="76268" y="15154"/>
                  </a:moveTo>
                  <a:cubicBezTo>
                    <a:pt x="54452" y="15869"/>
                    <a:pt x="32725" y="16584"/>
                    <a:pt x="10908" y="17300"/>
                  </a:cubicBezTo>
                  <a:cubicBezTo>
                    <a:pt x="7242" y="16674"/>
                    <a:pt x="3666" y="16048"/>
                    <a:pt x="0" y="15422"/>
                  </a:cubicBezTo>
                  <a:cubicBezTo>
                    <a:pt x="1431" y="11220"/>
                    <a:pt x="2861" y="6928"/>
                    <a:pt x="4202" y="2726"/>
                  </a:cubicBezTo>
                  <a:cubicBezTo>
                    <a:pt x="23962" y="2726"/>
                    <a:pt x="43812" y="-4070"/>
                    <a:pt x="63393" y="3799"/>
                  </a:cubicBezTo>
                  <a:cubicBezTo>
                    <a:pt x="67685" y="7554"/>
                    <a:pt x="71887" y="11399"/>
                    <a:pt x="76179" y="1515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2" name="Freeform: Shape 231">
              <a:extLst>
                <a:ext uri="{FF2B5EF4-FFF2-40B4-BE49-F238E27FC236}">
                  <a16:creationId xmlns:a16="http://schemas.microsoft.com/office/drawing/2014/main" id="{1E573907-E386-D9BC-D4A9-1D57327A524D}"/>
                </a:ext>
              </a:extLst>
            </p:cNvPr>
            <p:cNvSpPr/>
            <p:nvPr/>
          </p:nvSpPr>
          <p:spPr>
            <a:xfrm>
              <a:off x="5595246" y="9103724"/>
              <a:ext cx="35765" cy="71480"/>
            </a:xfrm>
            <a:custGeom>
              <a:avLst/>
              <a:gdLst>
                <a:gd name="connsiteX0" fmla="*/ 9675 w 24533"/>
                <a:gd name="connsiteY0" fmla="*/ 89 h 49033"/>
                <a:gd name="connsiteX1" fmla="*/ 22103 w 24533"/>
                <a:gd name="connsiteY1" fmla="*/ 14217 h 49033"/>
                <a:gd name="connsiteX2" fmla="*/ 15845 w 24533"/>
                <a:gd name="connsiteY2" fmla="*/ 47567 h 49033"/>
                <a:gd name="connsiteX3" fmla="*/ 16113 w 24533"/>
                <a:gd name="connsiteY3" fmla="*/ 47299 h 49033"/>
                <a:gd name="connsiteX4" fmla="*/ 2433 w 24533"/>
                <a:gd name="connsiteY4" fmla="*/ 28344 h 49033"/>
                <a:gd name="connsiteX5" fmla="*/ 9765 w 24533"/>
                <a:gd name="connsiteY5" fmla="*/ 0 h 4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33" h="49033">
                  <a:moveTo>
                    <a:pt x="9675" y="89"/>
                  </a:moveTo>
                  <a:cubicBezTo>
                    <a:pt x="18080" y="1252"/>
                    <a:pt x="29614" y="2235"/>
                    <a:pt x="22103" y="14217"/>
                  </a:cubicBezTo>
                  <a:cubicBezTo>
                    <a:pt x="15129" y="25304"/>
                    <a:pt x="20136" y="37017"/>
                    <a:pt x="15845" y="47567"/>
                  </a:cubicBezTo>
                  <a:lnTo>
                    <a:pt x="16113" y="47299"/>
                  </a:lnTo>
                  <a:cubicBezTo>
                    <a:pt x="-6687" y="54183"/>
                    <a:pt x="913" y="39073"/>
                    <a:pt x="2433" y="28344"/>
                  </a:cubicBezTo>
                  <a:cubicBezTo>
                    <a:pt x="8066" y="19760"/>
                    <a:pt x="-2217" y="6974"/>
                    <a:pt x="9765"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3" name="Freeform: Shape 232">
              <a:extLst>
                <a:ext uri="{FF2B5EF4-FFF2-40B4-BE49-F238E27FC236}">
                  <a16:creationId xmlns:a16="http://schemas.microsoft.com/office/drawing/2014/main" id="{335D5A84-2045-22E2-966C-D9CAC4F20B5D}"/>
                </a:ext>
              </a:extLst>
            </p:cNvPr>
            <p:cNvSpPr/>
            <p:nvPr/>
          </p:nvSpPr>
          <p:spPr>
            <a:xfrm>
              <a:off x="5802708" y="9719592"/>
              <a:ext cx="55606" cy="25338"/>
            </a:xfrm>
            <a:custGeom>
              <a:avLst/>
              <a:gdLst>
                <a:gd name="connsiteX0" fmla="*/ 4791 w 38142"/>
                <a:gd name="connsiteY0" fmla="*/ 4036 h 17381"/>
                <a:gd name="connsiteX1" fmla="*/ 38142 w 38142"/>
                <a:gd name="connsiteY1" fmla="*/ 4930 h 17381"/>
                <a:gd name="connsiteX2" fmla="*/ 13196 w 38142"/>
                <a:gd name="connsiteY2" fmla="*/ 16912 h 17381"/>
                <a:gd name="connsiteX3" fmla="*/ 4881 w 38142"/>
                <a:gd name="connsiteY3" fmla="*/ 4126 h 17381"/>
              </a:gdLst>
              <a:ahLst/>
              <a:cxnLst>
                <a:cxn ang="0">
                  <a:pos x="connsiteX0" y="connsiteY0"/>
                </a:cxn>
                <a:cxn ang="0">
                  <a:pos x="connsiteX1" y="connsiteY1"/>
                </a:cxn>
                <a:cxn ang="0">
                  <a:pos x="connsiteX2" y="connsiteY2"/>
                </a:cxn>
                <a:cxn ang="0">
                  <a:pos x="connsiteX3" y="connsiteY3"/>
                </a:cxn>
              </a:cxnLst>
              <a:rect l="l" t="t" r="r" b="b"/>
              <a:pathLst>
                <a:path w="38142" h="17381">
                  <a:moveTo>
                    <a:pt x="4791" y="4036"/>
                  </a:moveTo>
                  <a:cubicBezTo>
                    <a:pt x="15789" y="7971"/>
                    <a:pt x="27323" y="-7497"/>
                    <a:pt x="38142" y="4930"/>
                  </a:cubicBezTo>
                  <a:cubicBezTo>
                    <a:pt x="29827" y="9133"/>
                    <a:pt x="21958" y="15034"/>
                    <a:pt x="13196" y="16912"/>
                  </a:cubicBezTo>
                  <a:cubicBezTo>
                    <a:pt x="8100" y="17985"/>
                    <a:pt x="-7994" y="18432"/>
                    <a:pt x="4881" y="412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4" name="Freeform: Shape 233">
              <a:extLst>
                <a:ext uri="{FF2B5EF4-FFF2-40B4-BE49-F238E27FC236}">
                  <a16:creationId xmlns:a16="http://schemas.microsoft.com/office/drawing/2014/main" id="{8564C710-7DC0-E48E-F17F-93FFB78B3CE4}"/>
                </a:ext>
              </a:extLst>
            </p:cNvPr>
            <p:cNvSpPr/>
            <p:nvPr/>
          </p:nvSpPr>
          <p:spPr>
            <a:xfrm>
              <a:off x="10407992" y="2794868"/>
              <a:ext cx="200756" cy="213760"/>
            </a:xfrm>
            <a:custGeom>
              <a:avLst/>
              <a:gdLst>
                <a:gd name="connsiteX0" fmla="*/ 5855 w 137710"/>
                <a:gd name="connsiteY0" fmla="*/ 89474 h 146630"/>
                <a:gd name="connsiteX1" fmla="*/ 10951 w 137710"/>
                <a:gd name="connsiteY1" fmla="*/ 65780 h 146630"/>
                <a:gd name="connsiteX2" fmla="*/ 40546 w 137710"/>
                <a:gd name="connsiteY2" fmla="*/ 26975 h 146630"/>
                <a:gd name="connsiteX3" fmla="*/ 64240 w 137710"/>
                <a:gd name="connsiteY3" fmla="*/ 5248 h 146630"/>
                <a:gd name="connsiteX4" fmla="*/ 115741 w 137710"/>
                <a:gd name="connsiteY4" fmla="*/ 13653 h 146630"/>
                <a:gd name="connsiteX5" fmla="*/ 124056 w 137710"/>
                <a:gd name="connsiteY5" fmla="*/ 123182 h 146630"/>
                <a:gd name="connsiteX6" fmla="*/ 129332 w 137710"/>
                <a:gd name="connsiteY6" fmla="*/ 142942 h 146630"/>
                <a:gd name="connsiteX7" fmla="*/ 109840 w 137710"/>
                <a:gd name="connsiteY7" fmla="*/ 144283 h 146630"/>
                <a:gd name="connsiteX8" fmla="*/ 70946 w 137710"/>
                <a:gd name="connsiteY8" fmla="*/ 144015 h 146630"/>
                <a:gd name="connsiteX9" fmla="*/ 56819 w 137710"/>
                <a:gd name="connsiteY9" fmla="*/ 116923 h 146630"/>
                <a:gd name="connsiteX10" fmla="*/ 18461 w 137710"/>
                <a:gd name="connsiteY10" fmla="*/ 117639 h 146630"/>
                <a:gd name="connsiteX11" fmla="*/ 11219 w 137710"/>
                <a:gd name="connsiteY11" fmla="*/ 110396 h 146630"/>
                <a:gd name="connsiteX12" fmla="*/ 5855 w 137710"/>
                <a:gd name="connsiteY12" fmla="*/ 89563 h 146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710" h="146630">
                  <a:moveTo>
                    <a:pt x="5855" y="89474"/>
                  </a:moveTo>
                  <a:cubicBezTo>
                    <a:pt x="5050" y="80980"/>
                    <a:pt x="-9703" y="68641"/>
                    <a:pt x="10951" y="65780"/>
                  </a:cubicBezTo>
                  <a:cubicBezTo>
                    <a:pt x="34466" y="62472"/>
                    <a:pt x="37506" y="44589"/>
                    <a:pt x="40546" y="26975"/>
                  </a:cubicBezTo>
                  <a:cubicBezTo>
                    <a:pt x="42960" y="12848"/>
                    <a:pt x="49309" y="4801"/>
                    <a:pt x="64240" y="5248"/>
                  </a:cubicBezTo>
                  <a:cubicBezTo>
                    <a:pt x="82033" y="4265"/>
                    <a:pt x="102061" y="-10220"/>
                    <a:pt x="115741" y="13653"/>
                  </a:cubicBezTo>
                  <a:cubicBezTo>
                    <a:pt x="78367" y="37168"/>
                    <a:pt x="87755" y="102260"/>
                    <a:pt x="124056" y="123182"/>
                  </a:cubicBezTo>
                  <a:cubicBezTo>
                    <a:pt x="129421" y="128815"/>
                    <a:pt x="148555" y="130782"/>
                    <a:pt x="129332" y="142942"/>
                  </a:cubicBezTo>
                  <a:cubicBezTo>
                    <a:pt x="122894" y="144283"/>
                    <a:pt x="115920" y="138561"/>
                    <a:pt x="109840" y="144283"/>
                  </a:cubicBezTo>
                  <a:cubicBezTo>
                    <a:pt x="96876" y="147234"/>
                    <a:pt x="83911" y="147681"/>
                    <a:pt x="70946" y="144015"/>
                  </a:cubicBezTo>
                  <a:cubicBezTo>
                    <a:pt x="49219" y="143926"/>
                    <a:pt x="59591" y="127027"/>
                    <a:pt x="56819" y="116923"/>
                  </a:cubicBezTo>
                  <a:cubicBezTo>
                    <a:pt x="43855" y="106909"/>
                    <a:pt x="31247" y="116119"/>
                    <a:pt x="18461" y="117639"/>
                  </a:cubicBezTo>
                  <a:cubicBezTo>
                    <a:pt x="16047" y="115224"/>
                    <a:pt x="13633" y="112810"/>
                    <a:pt x="11219" y="110396"/>
                  </a:cubicBezTo>
                  <a:cubicBezTo>
                    <a:pt x="6033" y="104316"/>
                    <a:pt x="10951" y="95643"/>
                    <a:pt x="5855" y="8956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5" name="Freeform: Shape 234">
              <a:extLst>
                <a:ext uri="{FF2B5EF4-FFF2-40B4-BE49-F238E27FC236}">
                  <a16:creationId xmlns:a16="http://schemas.microsoft.com/office/drawing/2014/main" id="{1A86281B-A6CD-0DA8-9900-3B89E7D972C9}"/>
                </a:ext>
              </a:extLst>
            </p:cNvPr>
            <p:cNvSpPr/>
            <p:nvPr/>
          </p:nvSpPr>
          <p:spPr>
            <a:xfrm>
              <a:off x="10274579" y="3108036"/>
              <a:ext cx="82800" cy="47551"/>
            </a:xfrm>
            <a:custGeom>
              <a:avLst/>
              <a:gdLst>
                <a:gd name="connsiteX0" fmla="*/ 0 w 56797"/>
                <a:gd name="connsiteY0" fmla="*/ 30857 h 32618"/>
                <a:gd name="connsiteX1" fmla="*/ 45242 w 56797"/>
                <a:gd name="connsiteY1" fmla="*/ 993 h 32618"/>
                <a:gd name="connsiteX2" fmla="*/ 55703 w 56797"/>
                <a:gd name="connsiteY2" fmla="*/ 13690 h 32618"/>
                <a:gd name="connsiteX3" fmla="*/ 0 w 56797"/>
                <a:gd name="connsiteY3" fmla="*/ 30857 h 32618"/>
              </a:gdLst>
              <a:ahLst/>
              <a:cxnLst>
                <a:cxn ang="0">
                  <a:pos x="connsiteX0" y="connsiteY0"/>
                </a:cxn>
                <a:cxn ang="0">
                  <a:pos x="connsiteX1" y="connsiteY1"/>
                </a:cxn>
                <a:cxn ang="0">
                  <a:pos x="connsiteX2" y="connsiteY2"/>
                </a:cxn>
                <a:cxn ang="0">
                  <a:pos x="connsiteX3" y="connsiteY3"/>
                </a:cxn>
              </a:cxnLst>
              <a:rect l="l" t="t" r="r" b="b"/>
              <a:pathLst>
                <a:path w="56797" h="32618">
                  <a:moveTo>
                    <a:pt x="0" y="30857"/>
                  </a:moveTo>
                  <a:cubicBezTo>
                    <a:pt x="1699" y="-1063"/>
                    <a:pt x="22621" y="-1689"/>
                    <a:pt x="45242" y="993"/>
                  </a:cubicBezTo>
                  <a:cubicBezTo>
                    <a:pt x="52216" y="1798"/>
                    <a:pt x="59637" y="7431"/>
                    <a:pt x="55703" y="13690"/>
                  </a:cubicBezTo>
                  <a:cubicBezTo>
                    <a:pt x="42381" y="34701"/>
                    <a:pt x="21458" y="34254"/>
                    <a:pt x="0" y="3085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6" name="Freeform: Shape 235">
              <a:extLst>
                <a:ext uri="{FF2B5EF4-FFF2-40B4-BE49-F238E27FC236}">
                  <a16:creationId xmlns:a16="http://schemas.microsoft.com/office/drawing/2014/main" id="{62AF1F24-F7B4-BDC2-7334-66A6B10A7FCA}"/>
                </a:ext>
              </a:extLst>
            </p:cNvPr>
            <p:cNvSpPr/>
            <p:nvPr/>
          </p:nvSpPr>
          <p:spPr>
            <a:xfrm>
              <a:off x="10658904" y="3001154"/>
              <a:ext cx="83734" cy="54103"/>
            </a:xfrm>
            <a:custGeom>
              <a:avLst/>
              <a:gdLst>
                <a:gd name="connsiteX0" fmla="*/ 3354 w 57438"/>
                <a:gd name="connsiteY0" fmla="*/ 1528 h 37111"/>
                <a:gd name="connsiteX1" fmla="*/ 6215 w 57438"/>
                <a:gd name="connsiteY1" fmla="*/ 8 h 37111"/>
                <a:gd name="connsiteX2" fmla="*/ 57269 w 57438"/>
                <a:gd name="connsiteY2" fmla="*/ 28620 h 37111"/>
                <a:gd name="connsiteX3" fmla="*/ 54229 w 57438"/>
                <a:gd name="connsiteY3" fmla="*/ 35862 h 37111"/>
                <a:gd name="connsiteX4" fmla="*/ 4606 w 57438"/>
                <a:gd name="connsiteY4" fmla="*/ 20841 h 37111"/>
                <a:gd name="connsiteX5" fmla="*/ 3443 w 57438"/>
                <a:gd name="connsiteY5" fmla="*/ 1528 h 3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38" h="37111">
                  <a:moveTo>
                    <a:pt x="3354" y="1528"/>
                  </a:moveTo>
                  <a:cubicBezTo>
                    <a:pt x="4337" y="992"/>
                    <a:pt x="5232" y="97"/>
                    <a:pt x="6215" y="8"/>
                  </a:cubicBezTo>
                  <a:cubicBezTo>
                    <a:pt x="28747" y="-350"/>
                    <a:pt x="44662" y="11363"/>
                    <a:pt x="57269" y="28620"/>
                  </a:cubicBezTo>
                  <a:cubicBezTo>
                    <a:pt x="58074" y="29782"/>
                    <a:pt x="55839" y="35326"/>
                    <a:pt x="54229" y="35862"/>
                  </a:cubicBezTo>
                  <a:cubicBezTo>
                    <a:pt x="34648" y="41316"/>
                    <a:pt x="20610" y="27547"/>
                    <a:pt x="4606" y="20841"/>
                  </a:cubicBezTo>
                  <a:cubicBezTo>
                    <a:pt x="-1743" y="14761"/>
                    <a:pt x="-938" y="8234"/>
                    <a:pt x="3443" y="152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7" name="Freeform: Shape 236">
              <a:extLst>
                <a:ext uri="{FF2B5EF4-FFF2-40B4-BE49-F238E27FC236}">
                  <a16:creationId xmlns:a16="http://schemas.microsoft.com/office/drawing/2014/main" id="{F2B20E5C-2BBB-41DD-91DC-B68907FF6DB1}"/>
                </a:ext>
              </a:extLst>
            </p:cNvPr>
            <p:cNvSpPr/>
            <p:nvPr/>
          </p:nvSpPr>
          <p:spPr>
            <a:xfrm>
              <a:off x="9149428" y="3155634"/>
              <a:ext cx="59699" cy="47328"/>
            </a:xfrm>
            <a:custGeom>
              <a:avLst/>
              <a:gdLst>
                <a:gd name="connsiteX0" fmla="*/ 34871 w 40950"/>
                <a:gd name="connsiteY0" fmla="*/ 16268 h 32465"/>
                <a:gd name="connsiteX1" fmla="*/ 15379 w 40950"/>
                <a:gd name="connsiteY1" fmla="*/ 29680 h 32465"/>
                <a:gd name="connsiteX2" fmla="*/ 15379 w 40950"/>
                <a:gd name="connsiteY2" fmla="*/ 29680 h 32465"/>
                <a:gd name="connsiteX3" fmla="*/ 0 w 40950"/>
                <a:gd name="connsiteY3" fmla="*/ 23421 h 32465"/>
                <a:gd name="connsiteX4" fmla="*/ 9478 w 40950"/>
                <a:gd name="connsiteY4" fmla="*/ 11797 h 32465"/>
                <a:gd name="connsiteX5" fmla="*/ 40951 w 40950"/>
                <a:gd name="connsiteY5" fmla="*/ 5449 h 32465"/>
                <a:gd name="connsiteX6" fmla="*/ 34871 w 40950"/>
                <a:gd name="connsiteY6" fmla="*/ 16268 h 32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0" h="32465">
                  <a:moveTo>
                    <a:pt x="34871" y="16268"/>
                  </a:moveTo>
                  <a:cubicBezTo>
                    <a:pt x="28343" y="20738"/>
                    <a:pt x="21906" y="25209"/>
                    <a:pt x="15379" y="29680"/>
                  </a:cubicBezTo>
                  <a:lnTo>
                    <a:pt x="15379" y="29680"/>
                  </a:lnTo>
                  <a:cubicBezTo>
                    <a:pt x="7332" y="34776"/>
                    <a:pt x="2056" y="32988"/>
                    <a:pt x="0" y="23421"/>
                  </a:cubicBezTo>
                  <a:lnTo>
                    <a:pt x="9478" y="11797"/>
                  </a:lnTo>
                  <a:cubicBezTo>
                    <a:pt x="18776" y="3840"/>
                    <a:pt x="27628" y="-6532"/>
                    <a:pt x="40951" y="5449"/>
                  </a:cubicBezTo>
                  <a:cubicBezTo>
                    <a:pt x="38894" y="9025"/>
                    <a:pt x="36927" y="12691"/>
                    <a:pt x="34871" y="1626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8" name="Freeform: Shape 237">
              <a:extLst>
                <a:ext uri="{FF2B5EF4-FFF2-40B4-BE49-F238E27FC236}">
                  <a16:creationId xmlns:a16="http://schemas.microsoft.com/office/drawing/2014/main" id="{6EEDEBF7-2CAE-C253-0BC7-F9C43FCD2B85}"/>
                </a:ext>
              </a:extLst>
            </p:cNvPr>
            <p:cNvSpPr/>
            <p:nvPr/>
          </p:nvSpPr>
          <p:spPr>
            <a:xfrm>
              <a:off x="9420549" y="2997078"/>
              <a:ext cx="47835" cy="23193"/>
            </a:xfrm>
            <a:custGeom>
              <a:avLst/>
              <a:gdLst>
                <a:gd name="connsiteX0" fmla="*/ 32814 w 32813"/>
                <a:gd name="connsiteY0" fmla="*/ 6649 h 15909"/>
                <a:gd name="connsiteX1" fmla="*/ 0 w 32813"/>
                <a:gd name="connsiteY1" fmla="*/ 7453 h 15909"/>
                <a:gd name="connsiteX2" fmla="*/ 32814 w 32813"/>
                <a:gd name="connsiteY2" fmla="*/ 6649 h 15909"/>
              </a:gdLst>
              <a:ahLst/>
              <a:cxnLst>
                <a:cxn ang="0">
                  <a:pos x="connsiteX0" y="connsiteY0"/>
                </a:cxn>
                <a:cxn ang="0">
                  <a:pos x="connsiteX1" y="connsiteY1"/>
                </a:cxn>
                <a:cxn ang="0">
                  <a:pos x="connsiteX2" y="connsiteY2"/>
                </a:cxn>
              </a:cxnLst>
              <a:rect l="l" t="t" r="r" b="b"/>
              <a:pathLst>
                <a:path w="32813" h="15909">
                  <a:moveTo>
                    <a:pt x="32814" y="6649"/>
                  </a:moveTo>
                  <a:cubicBezTo>
                    <a:pt x="21995" y="12550"/>
                    <a:pt x="11355" y="23726"/>
                    <a:pt x="0" y="7453"/>
                  </a:cubicBezTo>
                  <a:cubicBezTo>
                    <a:pt x="10729" y="-1220"/>
                    <a:pt x="21637" y="-3365"/>
                    <a:pt x="32814" y="66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9" name="Freeform: Shape 238">
              <a:extLst>
                <a:ext uri="{FF2B5EF4-FFF2-40B4-BE49-F238E27FC236}">
                  <a16:creationId xmlns:a16="http://schemas.microsoft.com/office/drawing/2014/main" id="{DF4337D5-EE95-3F64-B60A-370161833A65}"/>
                </a:ext>
              </a:extLst>
            </p:cNvPr>
            <p:cNvSpPr/>
            <p:nvPr/>
          </p:nvSpPr>
          <p:spPr>
            <a:xfrm>
              <a:off x="14911704" y="8715741"/>
              <a:ext cx="157577" cy="178092"/>
            </a:xfrm>
            <a:custGeom>
              <a:avLst/>
              <a:gdLst>
                <a:gd name="connsiteX0" fmla="*/ 4882 w 108090"/>
                <a:gd name="connsiteY0" fmla="*/ 318 h 122163"/>
                <a:gd name="connsiteX1" fmla="*/ 89287 w 108090"/>
                <a:gd name="connsiteY1" fmla="*/ 3537 h 122163"/>
                <a:gd name="connsiteX2" fmla="*/ 107795 w 108090"/>
                <a:gd name="connsiteY2" fmla="*/ 13819 h 122163"/>
                <a:gd name="connsiteX3" fmla="*/ 78110 w 108090"/>
                <a:gd name="connsiteY3" fmla="*/ 92054 h 122163"/>
                <a:gd name="connsiteX4" fmla="*/ 63715 w 108090"/>
                <a:gd name="connsiteY4" fmla="*/ 117805 h 122163"/>
                <a:gd name="connsiteX5" fmla="*/ 3094 w 108090"/>
                <a:gd name="connsiteY5" fmla="*/ 84991 h 122163"/>
                <a:gd name="connsiteX6" fmla="*/ 8816 w 108090"/>
                <a:gd name="connsiteY6" fmla="*/ 58883 h 122163"/>
                <a:gd name="connsiteX7" fmla="*/ 3899 w 108090"/>
                <a:gd name="connsiteY7" fmla="*/ 32685 h 122163"/>
                <a:gd name="connsiteX8" fmla="*/ 4972 w 108090"/>
                <a:gd name="connsiteY8" fmla="*/ 229 h 122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90" h="122163">
                  <a:moveTo>
                    <a:pt x="4882" y="318"/>
                  </a:moveTo>
                  <a:cubicBezTo>
                    <a:pt x="32599" y="10869"/>
                    <a:pt x="60228" y="22045"/>
                    <a:pt x="89287" y="3537"/>
                  </a:cubicBezTo>
                  <a:cubicBezTo>
                    <a:pt x="100910" y="-3885"/>
                    <a:pt x="109851" y="765"/>
                    <a:pt x="107795" y="13819"/>
                  </a:cubicBezTo>
                  <a:cubicBezTo>
                    <a:pt x="103503" y="41626"/>
                    <a:pt x="111997" y="74440"/>
                    <a:pt x="78110" y="92054"/>
                  </a:cubicBezTo>
                  <a:cubicBezTo>
                    <a:pt x="70152" y="96167"/>
                    <a:pt x="76501" y="111546"/>
                    <a:pt x="63715" y="117805"/>
                  </a:cubicBezTo>
                  <a:cubicBezTo>
                    <a:pt x="41094" y="128981"/>
                    <a:pt x="20350" y="118878"/>
                    <a:pt x="3094" y="84991"/>
                  </a:cubicBezTo>
                  <a:cubicBezTo>
                    <a:pt x="-1734" y="74798"/>
                    <a:pt x="143" y="66125"/>
                    <a:pt x="8816" y="58883"/>
                  </a:cubicBezTo>
                  <a:cubicBezTo>
                    <a:pt x="18473" y="48064"/>
                    <a:pt x="-751" y="42610"/>
                    <a:pt x="3899" y="32685"/>
                  </a:cubicBezTo>
                  <a:cubicBezTo>
                    <a:pt x="-393" y="21688"/>
                    <a:pt x="-2539" y="10779"/>
                    <a:pt x="4972" y="2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0" name="Freeform: Shape 239">
              <a:extLst>
                <a:ext uri="{FF2B5EF4-FFF2-40B4-BE49-F238E27FC236}">
                  <a16:creationId xmlns:a16="http://schemas.microsoft.com/office/drawing/2014/main" id="{60EBF590-ABDE-47F9-2428-F279E7A6C23D}"/>
                </a:ext>
              </a:extLst>
            </p:cNvPr>
            <p:cNvSpPr/>
            <p:nvPr/>
          </p:nvSpPr>
          <p:spPr>
            <a:xfrm>
              <a:off x="6248179" y="4507379"/>
              <a:ext cx="110258" cy="50290"/>
            </a:xfrm>
            <a:custGeom>
              <a:avLst/>
              <a:gdLst>
                <a:gd name="connsiteX0" fmla="*/ 70814 w 75631"/>
                <a:gd name="connsiteY0" fmla="*/ 34293 h 34497"/>
                <a:gd name="connsiteX1" fmla="*/ 0 w 75631"/>
                <a:gd name="connsiteY1" fmla="*/ 4519 h 34497"/>
                <a:gd name="connsiteX2" fmla="*/ 65002 w 75631"/>
                <a:gd name="connsiteY2" fmla="*/ 15338 h 34497"/>
                <a:gd name="connsiteX3" fmla="*/ 70814 w 75631"/>
                <a:gd name="connsiteY3" fmla="*/ 34293 h 34497"/>
              </a:gdLst>
              <a:ahLst/>
              <a:cxnLst>
                <a:cxn ang="0">
                  <a:pos x="connsiteX0" y="connsiteY0"/>
                </a:cxn>
                <a:cxn ang="0">
                  <a:pos x="connsiteX1" y="connsiteY1"/>
                </a:cxn>
                <a:cxn ang="0">
                  <a:pos x="connsiteX2" y="connsiteY2"/>
                </a:cxn>
                <a:cxn ang="0">
                  <a:pos x="connsiteX3" y="connsiteY3"/>
                </a:cxn>
              </a:cxnLst>
              <a:rect l="l" t="t" r="r" b="b"/>
              <a:pathLst>
                <a:path w="75631" h="34497">
                  <a:moveTo>
                    <a:pt x="70814" y="34293"/>
                  </a:moveTo>
                  <a:cubicBezTo>
                    <a:pt x="43096" y="35903"/>
                    <a:pt x="19224" y="28213"/>
                    <a:pt x="0" y="4519"/>
                  </a:cubicBezTo>
                  <a:cubicBezTo>
                    <a:pt x="24856" y="-6926"/>
                    <a:pt x="44706" y="5860"/>
                    <a:pt x="65002" y="15338"/>
                  </a:cubicBezTo>
                  <a:cubicBezTo>
                    <a:pt x="71797" y="20166"/>
                    <a:pt x="81633" y="24100"/>
                    <a:pt x="70814" y="342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1" name="Freeform: Shape 240">
              <a:extLst>
                <a:ext uri="{FF2B5EF4-FFF2-40B4-BE49-F238E27FC236}">
                  <a16:creationId xmlns:a16="http://schemas.microsoft.com/office/drawing/2014/main" id="{DAFE0ED2-42BE-E702-D28F-511A45D9F8FC}"/>
                </a:ext>
              </a:extLst>
            </p:cNvPr>
            <p:cNvSpPr/>
            <p:nvPr/>
          </p:nvSpPr>
          <p:spPr>
            <a:xfrm>
              <a:off x="10736490" y="2125950"/>
              <a:ext cx="85559" cy="72169"/>
            </a:xfrm>
            <a:custGeom>
              <a:avLst/>
              <a:gdLst>
                <a:gd name="connsiteX0" fmla="*/ 53761 w 58690"/>
                <a:gd name="connsiteY0" fmla="*/ 39031 h 49504"/>
                <a:gd name="connsiteX1" fmla="*/ 41601 w 58690"/>
                <a:gd name="connsiteY1" fmla="*/ 46721 h 49504"/>
                <a:gd name="connsiteX2" fmla="*/ 10039 w 58690"/>
                <a:gd name="connsiteY2" fmla="*/ 48598 h 49504"/>
                <a:gd name="connsiteX3" fmla="*/ 1813 w 58690"/>
                <a:gd name="connsiteY3" fmla="*/ 32951 h 49504"/>
                <a:gd name="connsiteX4" fmla="*/ 20947 w 58690"/>
                <a:gd name="connsiteY4" fmla="*/ 16857 h 49504"/>
                <a:gd name="connsiteX5" fmla="*/ 53761 w 58690"/>
                <a:gd name="connsiteY5" fmla="*/ 7022 h 49504"/>
                <a:gd name="connsiteX6" fmla="*/ 53761 w 58690"/>
                <a:gd name="connsiteY6" fmla="*/ 39121 h 4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0" h="49504">
                  <a:moveTo>
                    <a:pt x="53761" y="39031"/>
                  </a:moveTo>
                  <a:cubicBezTo>
                    <a:pt x="49738" y="41624"/>
                    <a:pt x="45625" y="44128"/>
                    <a:pt x="41601" y="46721"/>
                  </a:cubicBezTo>
                  <a:cubicBezTo>
                    <a:pt x="31319" y="50923"/>
                    <a:pt x="20589" y="49313"/>
                    <a:pt x="10039" y="48598"/>
                  </a:cubicBezTo>
                  <a:cubicBezTo>
                    <a:pt x="25" y="47883"/>
                    <a:pt x="-2032" y="41624"/>
                    <a:pt x="1813" y="32951"/>
                  </a:cubicBezTo>
                  <a:cubicBezTo>
                    <a:pt x="8430" y="27676"/>
                    <a:pt x="19248" y="23384"/>
                    <a:pt x="20947" y="16857"/>
                  </a:cubicBezTo>
                  <a:cubicBezTo>
                    <a:pt x="26938" y="-7105"/>
                    <a:pt x="39634" y="-757"/>
                    <a:pt x="53761" y="7022"/>
                  </a:cubicBezTo>
                  <a:cubicBezTo>
                    <a:pt x="60288" y="17751"/>
                    <a:pt x="60378" y="28391"/>
                    <a:pt x="53761" y="3912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2" name="Freeform: Shape 241">
              <a:extLst>
                <a:ext uri="{FF2B5EF4-FFF2-40B4-BE49-F238E27FC236}">
                  <a16:creationId xmlns:a16="http://schemas.microsoft.com/office/drawing/2014/main" id="{C099DF5A-8771-9E4F-F68A-54DD49A9AD36}"/>
                </a:ext>
              </a:extLst>
            </p:cNvPr>
            <p:cNvSpPr/>
            <p:nvPr/>
          </p:nvSpPr>
          <p:spPr>
            <a:xfrm>
              <a:off x="10631866" y="2168119"/>
              <a:ext cx="94347" cy="63927"/>
            </a:xfrm>
            <a:custGeom>
              <a:avLst/>
              <a:gdLst>
                <a:gd name="connsiteX0" fmla="*/ 62046 w 64718"/>
                <a:gd name="connsiteY0" fmla="*/ 23785 h 43851"/>
                <a:gd name="connsiteX1" fmla="*/ 23152 w 64718"/>
                <a:gd name="connsiteY1" fmla="*/ 40505 h 43851"/>
                <a:gd name="connsiteX2" fmla="*/ 84 w 64718"/>
                <a:gd name="connsiteY2" fmla="*/ 29150 h 43851"/>
                <a:gd name="connsiteX3" fmla="*/ 16625 w 64718"/>
                <a:gd name="connsiteY3" fmla="*/ 7959 h 43851"/>
                <a:gd name="connsiteX4" fmla="*/ 28517 w 64718"/>
                <a:gd name="connsiteY4" fmla="*/ 3042 h 43851"/>
                <a:gd name="connsiteX5" fmla="*/ 60616 w 64718"/>
                <a:gd name="connsiteY5" fmla="*/ 5992 h 43851"/>
                <a:gd name="connsiteX6" fmla="*/ 62941 w 64718"/>
                <a:gd name="connsiteY6" fmla="*/ 10195 h 43851"/>
                <a:gd name="connsiteX7" fmla="*/ 62046 w 64718"/>
                <a:gd name="connsiteY7" fmla="*/ 23785 h 43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18" h="43851">
                  <a:moveTo>
                    <a:pt x="62046" y="23785"/>
                  </a:moveTo>
                  <a:cubicBezTo>
                    <a:pt x="46489" y="23428"/>
                    <a:pt x="44074" y="53738"/>
                    <a:pt x="23152" y="40505"/>
                  </a:cubicBezTo>
                  <a:cubicBezTo>
                    <a:pt x="15731" y="35856"/>
                    <a:pt x="1425" y="43635"/>
                    <a:pt x="84" y="29150"/>
                  </a:cubicBezTo>
                  <a:cubicBezTo>
                    <a:pt x="-899" y="18242"/>
                    <a:pt x="6879" y="11804"/>
                    <a:pt x="16625" y="7959"/>
                  </a:cubicBezTo>
                  <a:cubicBezTo>
                    <a:pt x="20649" y="6350"/>
                    <a:pt x="24493" y="4651"/>
                    <a:pt x="28517" y="3042"/>
                  </a:cubicBezTo>
                  <a:cubicBezTo>
                    <a:pt x="39515" y="896"/>
                    <a:pt x="50780" y="-3843"/>
                    <a:pt x="60616" y="5992"/>
                  </a:cubicBezTo>
                  <a:cubicBezTo>
                    <a:pt x="60169" y="8049"/>
                    <a:pt x="60973" y="9479"/>
                    <a:pt x="62941" y="10195"/>
                  </a:cubicBezTo>
                  <a:cubicBezTo>
                    <a:pt x="65801" y="14934"/>
                    <a:pt x="64997" y="19494"/>
                    <a:pt x="62046" y="2378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3" name="Freeform: Shape 242">
              <a:extLst>
                <a:ext uri="{FF2B5EF4-FFF2-40B4-BE49-F238E27FC236}">
                  <a16:creationId xmlns:a16="http://schemas.microsoft.com/office/drawing/2014/main" id="{0525D4D2-F149-9F26-5743-04D380249FDB}"/>
                </a:ext>
              </a:extLst>
            </p:cNvPr>
            <p:cNvSpPr/>
            <p:nvPr/>
          </p:nvSpPr>
          <p:spPr>
            <a:xfrm>
              <a:off x="10500611" y="2126404"/>
              <a:ext cx="79371" cy="37285"/>
            </a:xfrm>
            <a:custGeom>
              <a:avLst/>
              <a:gdLst>
                <a:gd name="connsiteX0" fmla="*/ 7146 w 54445"/>
                <a:gd name="connsiteY0" fmla="*/ 25487 h 25576"/>
                <a:gd name="connsiteX1" fmla="*/ 14389 w 54445"/>
                <a:gd name="connsiteY1" fmla="*/ 6085 h 25576"/>
                <a:gd name="connsiteX2" fmla="*/ 47828 w 54445"/>
                <a:gd name="connsiteY2" fmla="*/ 720 h 25576"/>
                <a:gd name="connsiteX3" fmla="*/ 53908 w 54445"/>
                <a:gd name="connsiteY3" fmla="*/ 6264 h 25576"/>
                <a:gd name="connsiteX4" fmla="*/ 7146 w 54445"/>
                <a:gd name="connsiteY4" fmla="*/ 25577 h 25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45" h="25576">
                  <a:moveTo>
                    <a:pt x="7146" y="25487"/>
                  </a:moveTo>
                  <a:cubicBezTo>
                    <a:pt x="-4925" y="13596"/>
                    <a:pt x="-1170" y="7337"/>
                    <a:pt x="14389" y="6085"/>
                  </a:cubicBezTo>
                  <a:cubicBezTo>
                    <a:pt x="25654" y="5101"/>
                    <a:pt x="37725" y="9036"/>
                    <a:pt x="47828" y="720"/>
                  </a:cubicBezTo>
                  <a:cubicBezTo>
                    <a:pt x="53193" y="-1068"/>
                    <a:pt x="55607" y="363"/>
                    <a:pt x="53908" y="6264"/>
                  </a:cubicBezTo>
                  <a:cubicBezTo>
                    <a:pt x="42642" y="23252"/>
                    <a:pt x="23151" y="20123"/>
                    <a:pt x="7146" y="2557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4" name="Freeform: Shape 243">
              <a:extLst>
                <a:ext uri="{FF2B5EF4-FFF2-40B4-BE49-F238E27FC236}">
                  <a16:creationId xmlns:a16="http://schemas.microsoft.com/office/drawing/2014/main" id="{FD0B6CC1-34ED-28AA-C5F0-BF55A65103F0}"/>
                </a:ext>
              </a:extLst>
            </p:cNvPr>
            <p:cNvSpPr/>
            <p:nvPr/>
          </p:nvSpPr>
          <p:spPr>
            <a:xfrm>
              <a:off x="10397453" y="2233863"/>
              <a:ext cx="65216" cy="27207"/>
            </a:xfrm>
            <a:custGeom>
              <a:avLst/>
              <a:gdLst>
                <a:gd name="connsiteX0" fmla="*/ 44735 w 44735"/>
                <a:gd name="connsiteY0" fmla="*/ 6316 h 18663"/>
                <a:gd name="connsiteX1" fmla="*/ 5573 w 44735"/>
                <a:gd name="connsiteY1" fmla="*/ 16331 h 18663"/>
                <a:gd name="connsiteX2" fmla="*/ 6199 w 44735"/>
                <a:gd name="connsiteY2" fmla="*/ 3724 h 18663"/>
                <a:gd name="connsiteX3" fmla="*/ 44735 w 44735"/>
                <a:gd name="connsiteY3" fmla="*/ 6316 h 18663"/>
              </a:gdLst>
              <a:ahLst/>
              <a:cxnLst>
                <a:cxn ang="0">
                  <a:pos x="connsiteX0" y="connsiteY0"/>
                </a:cxn>
                <a:cxn ang="0">
                  <a:pos x="connsiteX1" y="connsiteY1"/>
                </a:cxn>
                <a:cxn ang="0">
                  <a:pos x="connsiteX2" y="connsiteY2"/>
                </a:cxn>
                <a:cxn ang="0">
                  <a:pos x="connsiteX3" y="connsiteY3"/>
                </a:cxn>
              </a:cxnLst>
              <a:rect l="l" t="t" r="r" b="b"/>
              <a:pathLst>
                <a:path w="44735" h="18663">
                  <a:moveTo>
                    <a:pt x="44735" y="6316"/>
                  </a:moveTo>
                  <a:cubicBezTo>
                    <a:pt x="34811" y="21516"/>
                    <a:pt x="19521" y="19728"/>
                    <a:pt x="5573" y="16331"/>
                  </a:cubicBezTo>
                  <a:cubicBezTo>
                    <a:pt x="-3994" y="14006"/>
                    <a:pt x="477" y="7747"/>
                    <a:pt x="6199" y="3724"/>
                  </a:cubicBezTo>
                  <a:cubicBezTo>
                    <a:pt x="19342" y="594"/>
                    <a:pt x="32486" y="-3876"/>
                    <a:pt x="44735" y="631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5" name="Freeform: Shape 244">
              <a:extLst>
                <a:ext uri="{FF2B5EF4-FFF2-40B4-BE49-F238E27FC236}">
                  <a16:creationId xmlns:a16="http://schemas.microsoft.com/office/drawing/2014/main" id="{8EB0C9FF-C924-F728-A581-31800BF56DFB}"/>
                </a:ext>
              </a:extLst>
            </p:cNvPr>
            <p:cNvSpPr/>
            <p:nvPr/>
          </p:nvSpPr>
          <p:spPr>
            <a:xfrm>
              <a:off x="10651452" y="2132445"/>
              <a:ext cx="34887" cy="31102"/>
            </a:xfrm>
            <a:custGeom>
              <a:avLst/>
              <a:gdLst>
                <a:gd name="connsiteX0" fmla="*/ 14545 w 23931"/>
                <a:gd name="connsiteY0" fmla="*/ 20539 h 21335"/>
                <a:gd name="connsiteX1" fmla="*/ 1043 w 23931"/>
                <a:gd name="connsiteY1" fmla="*/ 17767 h 21335"/>
                <a:gd name="connsiteX2" fmla="*/ 8822 w 23931"/>
                <a:gd name="connsiteY2" fmla="*/ 242 h 21335"/>
                <a:gd name="connsiteX3" fmla="*/ 20714 w 23931"/>
                <a:gd name="connsiteY3" fmla="*/ 14995 h 21335"/>
                <a:gd name="connsiteX4" fmla="*/ 20983 w 23931"/>
                <a:gd name="connsiteY4" fmla="*/ 14638 h 21335"/>
                <a:gd name="connsiteX5" fmla="*/ 14545 w 23931"/>
                <a:gd name="connsiteY5" fmla="*/ 20539 h 2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31" h="21335">
                  <a:moveTo>
                    <a:pt x="14545" y="20539"/>
                  </a:moveTo>
                  <a:cubicBezTo>
                    <a:pt x="9717" y="20897"/>
                    <a:pt x="3279" y="23221"/>
                    <a:pt x="1043" y="17767"/>
                  </a:cubicBezTo>
                  <a:cubicBezTo>
                    <a:pt x="-2086" y="10257"/>
                    <a:pt x="2206" y="4355"/>
                    <a:pt x="8822" y="242"/>
                  </a:cubicBezTo>
                  <a:cubicBezTo>
                    <a:pt x="20088" y="-652"/>
                    <a:pt x="28940" y="242"/>
                    <a:pt x="20714" y="14995"/>
                  </a:cubicBezTo>
                  <a:lnTo>
                    <a:pt x="20983" y="14638"/>
                  </a:lnTo>
                  <a:cubicBezTo>
                    <a:pt x="20178" y="18035"/>
                    <a:pt x="18032" y="20002"/>
                    <a:pt x="14545" y="2053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6" name="Freeform: Shape 245">
              <a:extLst>
                <a:ext uri="{FF2B5EF4-FFF2-40B4-BE49-F238E27FC236}">
                  <a16:creationId xmlns:a16="http://schemas.microsoft.com/office/drawing/2014/main" id="{A40AF738-2642-85DE-A4A1-934BA0807B70}"/>
                </a:ext>
              </a:extLst>
            </p:cNvPr>
            <p:cNvSpPr/>
            <p:nvPr/>
          </p:nvSpPr>
          <p:spPr>
            <a:xfrm>
              <a:off x="10718930" y="2083124"/>
              <a:ext cx="33948" cy="27198"/>
            </a:xfrm>
            <a:custGeom>
              <a:avLst/>
              <a:gdLst>
                <a:gd name="connsiteX0" fmla="*/ 8137 w 23287"/>
                <a:gd name="connsiteY0" fmla="*/ 17891 h 18657"/>
                <a:gd name="connsiteX1" fmla="*/ 0 w 23287"/>
                <a:gd name="connsiteY1" fmla="*/ 9754 h 18657"/>
                <a:gd name="connsiteX2" fmla="*/ 21102 w 23287"/>
                <a:gd name="connsiteY2" fmla="*/ 3227 h 18657"/>
                <a:gd name="connsiteX3" fmla="*/ 21190 w 23287"/>
                <a:gd name="connsiteY3" fmla="*/ 3227 h 18657"/>
                <a:gd name="connsiteX4" fmla="*/ 8137 w 23287"/>
                <a:gd name="connsiteY4" fmla="*/ 17891 h 18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87" h="18657">
                  <a:moveTo>
                    <a:pt x="8137" y="17891"/>
                  </a:moveTo>
                  <a:cubicBezTo>
                    <a:pt x="5455" y="15208"/>
                    <a:pt x="2683" y="12437"/>
                    <a:pt x="0" y="9754"/>
                  </a:cubicBezTo>
                  <a:cubicBezTo>
                    <a:pt x="3308" y="-4462"/>
                    <a:pt x="12428" y="187"/>
                    <a:pt x="21102" y="3227"/>
                  </a:cubicBezTo>
                  <a:lnTo>
                    <a:pt x="21190" y="3227"/>
                  </a:lnTo>
                  <a:cubicBezTo>
                    <a:pt x="26823" y="17086"/>
                    <a:pt x="20654" y="20394"/>
                    <a:pt x="8137" y="178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7" name="Freeform: Shape 246">
              <a:extLst>
                <a:ext uri="{FF2B5EF4-FFF2-40B4-BE49-F238E27FC236}">
                  <a16:creationId xmlns:a16="http://schemas.microsoft.com/office/drawing/2014/main" id="{BCDBB89A-FD44-8C1F-AFFD-FB320032A41C}"/>
                </a:ext>
              </a:extLst>
            </p:cNvPr>
            <p:cNvSpPr/>
            <p:nvPr/>
          </p:nvSpPr>
          <p:spPr>
            <a:xfrm>
              <a:off x="11053291" y="2695770"/>
              <a:ext cx="64226" cy="50177"/>
            </a:xfrm>
            <a:custGeom>
              <a:avLst/>
              <a:gdLst>
                <a:gd name="connsiteX0" fmla="*/ 26181 w 44056"/>
                <a:gd name="connsiteY0" fmla="*/ 34420 h 34419"/>
                <a:gd name="connsiteX1" fmla="*/ 1057 w 44056"/>
                <a:gd name="connsiteY1" fmla="*/ 31201 h 34419"/>
                <a:gd name="connsiteX2" fmla="*/ 17151 w 44056"/>
                <a:gd name="connsiteY2" fmla="*/ 622 h 34419"/>
                <a:gd name="connsiteX3" fmla="*/ 41828 w 44056"/>
                <a:gd name="connsiteY3" fmla="*/ 23422 h 34419"/>
                <a:gd name="connsiteX4" fmla="*/ 26092 w 44056"/>
                <a:gd name="connsiteY4" fmla="*/ 34420 h 3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6" h="34419">
                  <a:moveTo>
                    <a:pt x="26181" y="34420"/>
                  </a:moveTo>
                  <a:cubicBezTo>
                    <a:pt x="17777" y="33347"/>
                    <a:pt x="9462" y="32274"/>
                    <a:pt x="1057" y="31201"/>
                  </a:cubicBezTo>
                  <a:cubicBezTo>
                    <a:pt x="-2877" y="16090"/>
                    <a:pt x="4544" y="4378"/>
                    <a:pt x="17151" y="622"/>
                  </a:cubicBezTo>
                  <a:cubicBezTo>
                    <a:pt x="32083" y="-3759"/>
                    <a:pt x="32887" y="16180"/>
                    <a:pt x="41828" y="23422"/>
                  </a:cubicBezTo>
                  <a:cubicBezTo>
                    <a:pt x="50859" y="30754"/>
                    <a:pt x="29758" y="27356"/>
                    <a:pt x="26092" y="3442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8" name="Freeform: Shape 247">
              <a:extLst>
                <a:ext uri="{FF2B5EF4-FFF2-40B4-BE49-F238E27FC236}">
                  <a16:creationId xmlns:a16="http://schemas.microsoft.com/office/drawing/2014/main" id="{B2E29F4E-51BB-16EC-2ACD-628C297576D8}"/>
                </a:ext>
              </a:extLst>
            </p:cNvPr>
            <p:cNvSpPr/>
            <p:nvPr/>
          </p:nvSpPr>
          <p:spPr>
            <a:xfrm>
              <a:off x="8251863" y="4129704"/>
              <a:ext cx="184573" cy="235926"/>
            </a:xfrm>
            <a:custGeom>
              <a:avLst/>
              <a:gdLst>
                <a:gd name="connsiteX0" fmla="*/ 105953 w 126609"/>
                <a:gd name="connsiteY0" fmla="*/ 89 h 161834"/>
                <a:gd name="connsiteX1" fmla="*/ 122583 w 126609"/>
                <a:gd name="connsiteY1" fmla="*/ 6438 h 161834"/>
                <a:gd name="connsiteX2" fmla="*/ 123925 w 126609"/>
                <a:gd name="connsiteY2" fmla="*/ 19045 h 161834"/>
                <a:gd name="connsiteX3" fmla="*/ 121957 w 126609"/>
                <a:gd name="connsiteY3" fmla="*/ 74390 h 161834"/>
                <a:gd name="connsiteX4" fmla="*/ 84852 w 126609"/>
                <a:gd name="connsiteY4" fmla="*/ 144310 h 161834"/>
                <a:gd name="connsiteX5" fmla="*/ 0 w 126609"/>
                <a:gd name="connsiteY5" fmla="*/ 161835 h 161834"/>
                <a:gd name="connsiteX6" fmla="*/ 12875 w 126609"/>
                <a:gd name="connsiteY6" fmla="*/ 117666 h 161834"/>
                <a:gd name="connsiteX7" fmla="*/ 23784 w 126609"/>
                <a:gd name="connsiteY7" fmla="*/ 97369 h 161834"/>
                <a:gd name="connsiteX8" fmla="*/ 26734 w 126609"/>
                <a:gd name="connsiteY8" fmla="*/ 93346 h 161834"/>
                <a:gd name="connsiteX9" fmla="*/ 19313 w 126609"/>
                <a:gd name="connsiteY9" fmla="*/ 78414 h 161834"/>
                <a:gd name="connsiteX10" fmla="*/ 17435 w 126609"/>
                <a:gd name="connsiteY10" fmla="*/ 76805 h 161834"/>
                <a:gd name="connsiteX11" fmla="*/ 14932 w 126609"/>
                <a:gd name="connsiteY11" fmla="*/ 77073 h 161834"/>
                <a:gd name="connsiteX12" fmla="*/ 13769 w 126609"/>
                <a:gd name="connsiteY12" fmla="*/ 49176 h 161834"/>
                <a:gd name="connsiteX13" fmla="*/ 13591 w 126609"/>
                <a:gd name="connsiteY13" fmla="*/ 48014 h 161834"/>
                <a:gd name="connsiteX14" fmla="*/ 45332 w 126609"/>
                <a:gd name="connsiteY14" fmla="*/ 44348 h 161834"/>
                <a:gd name="connsiteX15" fmla="*/ 71529 w 126609"/>
                <a:gd name="connsiteY15" fmla="*/ 6169 h 161834"/>
                <a:gd name="connsiteX16" fmla="*/ 106042 w 126609"/>
                <a:gd name="connsiteY16" fmla="*/ 0 h 16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609" h="161834">
                  <a:moveTo>
                    <a:pt x="105953" y="89"/>
                  </a:moveTo>
                  <a:cubicBezTo>
                    <a:pt x="110244" y="5454"/>
                    <a:pt x="116146" y="6617"/>
                    <a:pt x="122583" y="6438"/>
                  </a:cubicBezTo>
                  <a:cubicBezTo>
                    <a:pt x="128127" y="10104"/>
                    <a:pt x="127322" y="14395"/>
                    <a:pt x="123925" y="19045"/>
                  </a:cubicBezTo>
                  <a:cubicBezTo>
                    <a:pt x="129737" y="37642"/>
                    <a:pt x="120258" y="55614"/>
                    <a:pt x="121957" y="74390"/>
                  </a:cubicBezTo>
                  <a:cubicBezTo>
                    <a:pt x="124818" y="104880"/>
                    <a:pt x="127054" y="128753"/>
                    <a:pt x="84852" y="144310"/>
                  </a:cubicBezTo>
                  <a:cubicBezTo>
                    <a:pt x="55793" y="155040"/>
                    <a:pt x="28433" y="157096"/>
                    <a:pt x="0" y="161835"/>
                  </a:cubicBezTo>
                  <a:cubicBezTo>
                    <a:pt x="715" y="146099"/>
                    <a:pt x="-2414" y="129200"/>
                    <a:pt x="12875" y="117666"/>
                  </a:cubicBezTo>
                  <a:cubicBezTo>
                    <a:pt x="23784" y="114805"/>
                    <a:pt x="15290" y="101572"/>
                    <a:pt x="23784" y="97369"/>
                  </a:cubicBezTo>
                  <a:cubicBezTo>
                    <a:pt x="26019" y="96922"/>
                    <a:pt x="27002" y="95581"/>
                    <a:pt x="26734" y="93346"/>
                  </a:cubicBezTo>
                  <a:cubicBezTo>
                    <a:pt x="31741" y="84673"/>
                    <a:pt x="25125" y="81722"/>
                    <a:pt x="19313" y="78414"/>
                  </a:cubicBezTo>
                  <a:lnTo>
                    <a:pt x="17435" y="76805"/>
                  </a:lnTo>
                  <a:lnTo>
                    <a:pt x="14932" y="77073"/>
                  </a:lnTo>
                  <a:cubicBezTo>
                    <a:pt x="1431" y="68310"/>
                    <a:pt x="20386" y="58207"/>
                    <a:pt x="13769" y="49176"/>
                  </a:cubicBezTo>
                  <a:lnTo>
                    <a:pt x="13591" y="48014"/>
                  </a:lnTo>
                  <a:cubicBezTo>
                    <a:pt x="22979" y="36391"/>
                    <a:pt x="34424" y="42828"/>
                    <a:pt x="45332" y="44348"/>
                  </a:cubicBezTo>
                  <a:cubicBezTo>
                    <a:pt x="59369" y="35228"/>
                    <a:pt x="40861" y="3755"/>
                    <a:pt x="71529" y="6169"/>
                  </a:cubicBezTo>
                  <a:cubicBezTo>
                    <a:pt x="82080" y="-1073"/>
                    <a:pt x="94955" y="4381"/>
                    <a:pt x="10604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9" name="Freeform: Shape 248">
              <a:extLst>
                <a:ext uri="{FF2B5EF4-FFF2-40B4-BE49-F238E27FC236}">
                  <a16:creationId xmlns:a16="http://schemas.microsoft.com/office/drawing/2014/main" id="{58347D14-015F-7439-FFAE-16C013EC2E94}"/>
                </a:ext>
              </a:extLst>
            </p:cNvPr>
            <p:cNvSpPr/>
            <p:nvPr/>
          </p:nvSpPr>
          <p:spPr>
            <a:xfrm>
              <a:off x="9369192" y="2467408"/>
              <a:ext cx="105709" cy="56413"/>
            </a:xfrm>
            <a:custGeom>
              <a:avLst/>
              <a:gdLst>
                <a:gd name="connsiteX0" fmla="*/ 0 w 72512"/>
                <a:gd name="connsiteY0" fmla="*/ 37546 h 38697"/>
                <a:gd name="connsiteX1" fmla="*/ 72513 w 72512"/>
                <a:gd name="connsiteY1" fmla="*/ 22614 h 38697"/>
                <a:gd name="connsiteX2" fmla="*/ 0 w 72512"/>
                <a:gd name="connsiteY2" fmla="*/ 37546 h 38697"/>
              </a:gdLst>
              <a:ahLst/>
              <a:cxnLst>
                <a:cxn ang="0">
                  <a:pos x="connsiteX0" y="connsiteY0"/>
                </a:cxn>
                <a:cxn ang="0">
                  <a:pos x="connsiteX1" y="connsiteY1"/>
                </a:cxn>
                <a:cxn ang="0">
                  <a:pos x="connsiteX2" y="connsiteY2"/>
                </a:cxn>
              </a:cxnLst>
              <a:rect l="l" t="t" r="r" b="b"/>
              <a:pathLst>
                <a:path w="72512" h="38697">
                  <a:moveTo>
                    <a:pt x="0" y="37546"/>
                  </a:moveTo>
                  <a:cubicBezTo>
                    <a:pt x="19224" y="-7696"/>
                    <a:pt x="36480" y="-11273"/>
                    <a:pt x="72513" y="22614"/>
                  </a:cubicBezTo>
                  <a:cubicBezTo>
                    <a:pt x="45868" y="36205"/>
                    <a:pt x="21700" y="41182"/>
                    <a:pt x="0" y="3754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0" name="Freeform: Shape 249">
              <a:extLst>
                <a:ext uri="{FF2B5EF4-FFF2-40B4-BE49-F238E27FC236}">
                  <a16:creationId xmlns:a16="http://schemas.microsoft.com/office/drawing/2014/main" id="{AFE0D947-C4D1-53FE-7233-03976EE11526}"/>
                </a:ext>
              </a:extLst>
            </p:cNvPr>
            <p:cNvSpPr/>
            <p:nvPr/>
          </p:nvSpPr>
          <p:spPr>
            <a:xfrm>
              <a:off x="13540225" y="2324933"/>
              <a:ext cx="402298" cy="164963"/>
            </a:xfrm>
            <a:custGeom>
              <a:avLst/>
              <a:gdLst>
                <a:gd name="connsiteX0" fmla="*/ 2628 w 275958"/>
                <a:gd name="connsiteY0" fmla="*/ 54270 h 113157"/>
                <a:gd name="connsiteX1" fmla="*/ 44830 w 275958"/>
                <a:gd name="connsiteY1" fmla="*/ 8044 h 113157"/>
                <a:gd name="connsiteX2" fmla="*/ 83456 w 275958"/>
                <a:gd name="connsiteY2" fmla="*/ 8223 h 113157"/>
                <a:gd name="connsiteX3" fmla="*/ 125121 w 275958"/>
                <a:gd name="connsiteY3" fmla="*/ 21277 h 113157"/>
                <a:gd name="connsiteX4" fmla="*/ 133169 w 275958"/>
                <a:gd name="connsiteY4" fmla="*/ 15465 h 113157"/>
                <a:gd name="connsiteX5" fmla="*/ 133169 w 275958"/>
                <a:gd name="connsiteY5" fmla="*/ 2590 h 113157"/>
                <a:gd name="connsiteX6" fmla="*/ 170364 w 275958"/>
                <a:gd name="connsiteY6" fmla="*/ 5809 h 113157"/>
                <a:gd name="connsiteX7" fmla="*/ 251907 w 275958"/>
                <a:gd name="connsiteY7" fmla="*/ 20562 h 113157"/>
                <a:gd name="connsiteX8" fmla="*/ 275959 w 275958"/>
                <a:gd name="connsiteY8" fmla="*/ 39159 h 113157"/>
                <a:gd name="connsiteX9" fmla="*/ 199244 w 275958"/>
                <a:gd name="connsiteY9" fmla="*/ 48100 h 113157"/>
                <a:gd name="connsiteX10" fmla="*/ 188515 w 275958"/>
                <a:gd name="connsiteY10" fmla="*/ 36030 h 113157"/>
                <a:gd name="connsiteX11" fmla="*/ 177964 w 275958"/>
                <a:gd name="connsiteY11" fmla="*/ 47117 h 113157"/>
                <a:gd name="connsiteX12" fmla="*/ 183061 w 275958"/>
                <a:gd name="connsiteY12" fmla="*/ 67592 h 113157"/>
                <a:gd name="connsiteX13" fmla="*/ 214891 w 275958"/>
                <a:gd name="connsiteY13" fmla="*/ 89409 h 113157"/>
                <a:gd name="connsiteX14" fmla="*/ 110458 w 275958"/>
                <a:gd name="connsiteY14" fmla="*/ 83597 h 113157"/>
                <a:gd name="connsiteX15" fmla="*/ 107955 w 275958"/>
                <a:gd name="connsiteY15" fmla="*/ 108274 h 113157"/>
                <a:gd name="connsiteX16" fmla="*/ 76929 w 275958"/>
                <a:gd name="connsiteY16" fmla="*/ 108543 h 113157"/>
                <a:gd name="connsiteX17" fmla="*/ 2628 w 275958"/>
                <a:gd name="connsiteY17" fmla="*/ 59813 h 113157"/>
                <a:gd name="connsiteX18" fmla="*/ 303 w 275958"/>
                <a:gd name="connsiteY18" fmla="*/ 56058 h 113157"/>
                <a:gd name="connsiteX19" fmla="*/ 2717 w 275958"/>
                <a:gd name="connsiteY19" fmla="*/ 54270 h 11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5958" h="113157">
                  <a:moveTo>
                    <a:pt x="2628" y="54270"/>
                  </a:moveTo>
                  <a:cubicBezTo>
                    <a:pt x="19526" y="41484"/>
                    <a:pt x="22209" y="15733"/>
                    <a:pt x="44830" y="8044"/>
                  </a:cubicBezTo>
                  <a:cubicBezTo>
                    <a:pt x="57705" y="11978"/>
                    <a:pt x="70581" y="12425"/>
                    <a:pt x="83456" y="8223"/>
                  </a:cubicBezTo>
                  <a:cubicBezTo>
                    <a:pt x="96421" y="15555"/>
                    <a:pt x="109027" y="24138"/>
                    <a:pt x="125121" y="21277"/>
                  </a:cubicBezTo>
                  <a:cubicBezTo>
                    <a:pt x="131291" y="24228"/>
                    <a:pt x="137192" y="26821"/>
                    <a:pt x="133169" y="15465"/>
                  </a:cubicBezTo>
                  <a:cubicBezTo>
                    <a:pt x="127267" y="10995"/>
                    <a:pt x="123334" y="4825"/>
                    <a:pt x="133169" y="2590"/>
                  </a:cubicBezTo>
                  <a:cubicBezTo>
                    <a:pt x="145508" y="-271"/>
                    <a:pt x="160082" y="-2506"/>
                    <a:pt x="170364" y="5809"/>
                  </a:cubicBezTo>
                  <a:cubicBezTo>
                    <a:pt x="195310" y="25837"/>
                    <a:pt x="226782" y="5272"/>
                    <a:pt x="251907" y="20562"/>
                  </a:cubicBezTo>
                  <a:cubicBezTo>
                    <a:pt x="254142" y="35672"/>
                    <a:pt x="272919" y="24496"/>
                    <a:pt x="275959" y="39159"/>
                  </a:cubicBezTo>
                  <a:cubicBezTo>
                    <a:pt x="257898" y="78500"/>
                    <a:pt x="227051" y="83060"/>
                    <a:pt x="199244" y="48100"/>
                  </a:cubicBezTo>
                  <a:cubicBezTo>
                    <a:pt x="195846" y="43809"/>
                    <a:pt x="198708" y="32811"/>
                    <a:pt x="188515" y="36030"/>
                  </a:cubicBezTo>
                  <a:cubicBezTo>
                    <a:pt x="184133" y="37460"/>
                    <a:pt x="179573" y="42646"/>
                    <a:pt x="177964" y="47117"/>
                  </a:cubicBezTo>
                  <a:cubicBezTo>
                    <a:pt x="175460" y="54270"/>
                    <a:pt x="175818" y="61870"/>
                    <a:pt x="183061" y="67592"/>
                  </a:cubicBezTo>
                  <a:cubicBezTo>
                    <a:pt x="191107" y="73851"/>
                    <a:pt x="204519" y="70811"/>
                    <a:pt x="214891" y="89409"/>
                  </a:cubicBezTo>
                  <a:cubicBezTo>
                    <a:pt x="176265" y="79216"/>
                    <a:pt x="143630" y="101211"/>
                    <a:pt x="110458" y="83597"/>
                  </a:cubicBezTo>
                  <a:cubicBezTo>
                    <a:pt x="103574" y="91465"/>
                    <a:pt x="127715" y="102642"/>
                    <a:pt x="107955" y="108274"/>
                  </a:cubicBezTo>
                  <a:cubicBezTo>
                    <a:pt x="98030" y="111046"/>
                    <a:pt x="91324" y="117573"/>
                    <a:pt x="76929" y="108543"/>
                  </a:cubicBezTo>
                  <a:cubicBezTo>
                    <a:pt x="51893" y="92717"/>
                    <a:pt x="31329" y="69827"/>
                    <a:pt x="2628" y="59813"/>
                  </a:cubicBezTo>
                  <a:cubicBezTo>
                    <a:pt x="303" y="58562"/>
                    <a:pt x="-502" y="57310"/>
                    <a:pt x="303" y="56058"/>
                  </a:cubicBezTo>
                  <a:cubicBezTo>
                    <a:pt x="1108" y="54896"/>
                    <a:pt x="1913" y="54270"/>
                    <a:pt x="2717" y="5427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1" name="Freeform: Shape 250">
              <a:extLst>
                <a:ext uri="{FF2B5EF4-FFF2-40B4-BE49-F238E27FC236}">
                  <a16:creationId xmlns:a16="http://schemas.microsoft.com/office/drawing/2014/main" id="{EEDB884C-A89A-8E4D-698C-C52E6E9F790B}"/>
                </a:ext>
              </a:extLst>
            </p:cNvPr>
            <p:cNvSpPr/>
            <p:nvPr/>
          </p:nvSpPr>
          <p:spPr>
            <a:xfrm>
              <a:off x="13988983" y="2380372"/>
              <a:ext cx="223880" cy="77908"/>
            </a:xfrm>
            <a:custGeom>
              <a:avLst/>
              <a:gdLst>
                <a:gd name="connsiteX0" fmla="*/ 15253 w 153572"/>
                <a:gd name="connsiteY0" fmla="*/ 2024 h 53442"/>
                <a:gd name="connsiteX1" fmla="*/ 46904 w 153572"/>
                <a:gd name="connsiteY1" fmla="*/ 2561 h 53442"/>
                <a:gd name="connsiteX2" fmla="*/ 73639 w 153572"/>
                <a:gd name="connsiteY2" fmla="*/ 9982 h 53442"/>
                <a:gd name="connsiteX3" fmla="*/ 136227 w 153572"/>
                <a:gd name="connsiteY3" fmla="*/ 21963 h 53442"/>
                <a:gd name="connsiteX4" fmla="*/ 153572 w 153572"/>
                <a:gd name="connsiteY4" fmla="*/ 34928 h 53442"/>
                <a:gd name="connsiteX5" fmla="*/ 30810 w 153572"/>
                <a:gd name="connsiteY5" fmla="*/ 42528 h 53442"/>
                <a:gd name="connsiteX6" fmla="*/ 1483 w 153572"/>
                <a:gd name="connsiteY6" fmla="*/ 15168 h 53442"/>
                <a:gd name="connsiteX7" fmla="*/ 15253 w 153572"/>
                <a:gd name="connsiteY7" fmla="*/ 2024 h 5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72" h="53442">
                  <a:moveTo>
                    <a:pt x="15253" y="2024"/>
                  </a:moveTo>
                  <a:cubicBezTo>
                    <a:pt x="25267" y="31441"/>
                    <a:pt x="36354" y="3455"/>
                    <a:pt x="46904" y="2561"/>
                  </a:cubicBezTo>
                  <a:cubicBezTo>
                    <a:pt x="54594" y="9535"/>
                    <a:pt x="66933" y="-479"/>
                    <a:pt x="73639" y="9982"/>
                  </a:cubicBezTo>
                  <a:cubicBezTo>
                    <a:pt x="92057" y="25987"/>
                    <a:pt x="117450" y="4528"/>
                    <a:pt x="136227" y="21963"/>
                  </a:cubicBezTo>
                  <a:cubicBezTo>
                    <a:pt x="141234" y="26613"/>
                    <a:pt x="150264" y="27060"/>
                    <a:pt x="153572" y="34928"/>
                  </a:cubicBezTo>
                  <a:cubicBezTo>
                    <a:pt x="113426" y="49502"/>
                    <a:pt x="73460" y="64076"/>
                    <a:pt x="30810" y="42528"/>
                  </a:cubicBezTo>
                  <a:cubicBezTo>
                    <a:pt x="18024" y="36090"/>
                    <a:pt x="4881" y="31173"/>
                    <a:pt x="1483" y="15168"/>
                  </a:cubicBezTo>
                  <a:cubicBezTo>
                    <a:pt x="-2540" y="1756"/>
                    <a:pt x="1483" y="-3161"/>
                    <a:pt x="15253" y="202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2" name="Freeform: Shape 251">
              <a:extLst>
                <a:ext uri="{FF2B5EF4-FFF2-40B4-BE49-F238E27FC236}">
                  <a16:creationId xmlns:a16="http://schemas.microsoft.com/office/drawing/2014/main" id="{28991AFF-08DF-BC81-A6AE-E9FF36B4770B}"/>
                </a:ext>
              </a:extLst>
            </p:cNvPr>
            <p:cNvSpPr/>
            <p:nvPr/>
          </p:nvSpPr>
          <p:spPr>
            <a:xfrm>
              <a:off x="13742575" y="2546366"/>
              <a:ext cx="155503" cy="64127"/>
            </a:xfrm>
            <a:custGeom>
              <a:avLst/>
              <a:gdLst>
                <a:gd name="connsiteX0" fmla="*/ 106668 w 106667"/>
                <a:gd name="connsiteY0" fmla="*/ 31936 h 43988"/>
                <a:gd name="connsiteX1" fmla="*/ 0 w 106667"/>
                <a:gd name="connsiteY1" fmla="*/ 33366 h 43988"/>
                <a:gd name="connsiteX2" fmla="*/ 106131 w 106667"/>
                <a:gd name="connsiteY2" fmla="*/ 31220 h 43988"/>
                <a:gd name="connsiteX3" fmla="*/ 106668 w 106667"/>
                <a:gd name="connsiteY3" fmla="*/ 31936 h 43988"/>
              </a:gdLst>
              <a:ahLst/>
              <a:cxnLst>
                <a:cxn ang="0">
                  <a:pos x="connsiteX0" y="connsiteY0"/>
                </a:cxn>
                <a:cxn ang="0">
                  <a:pos x="connsiteX1" y="connsiteY1"/>
                </a:cxn>
                <a:cxn ang="0">
                  <a:pos x="connsiteX2" y="connsiteY2"/>
                </a:cxn>
                <a:cxn ang="0">
                  <a:pos x="connsiteX3" y="connsiteY3"/>
                </a:cxn>
              </a:cxnLst>
              <a:rect l="l" t="t" r="r" b="b"/>
              <a:pathLst>
                <a:path w="106667" h="43988">
                  <a:moveTo>
                    <a:pt x="106668" y="31936"/>
                  </a:moveTo>
                  <a:cubicBezTo>
                    <a:pt x="71708" y="57954"/>
                    <a:pt x="37284" y="33813"/>
                    <a:pt x="0" y="33366"/>
                  </a:cubicBezTo>
                  <a:cubicBezTo>
                    <a:pt x="46762" y="-10803"/>
                    <a:pt x="75910" y="-10714"/>
                    <a:pt x="106131" y="31220"/>
                  </a:cubicBezTo>
                  <a:lnTo>
                    <a:pt x="106668" y="31936"/>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3" name="Freeform: Shape 252">
              <a:extLst>
                <a:ext uri="{FF2B5EF4-FFF2-40B4-BE49-F238E27FC236}">
                  <a16:creationId xmlns:a16="http://schemas.microsoft.com/office/drawing/2014/main" id="{AFB5D6B5-FAED-DC00-542E-8142E1E5E994}"/>
                </a:ext>
              </a:extLst>
            </p:cNvPr>
            <p:cNvSpPr/>
            <p:nvPr/>
          </p:nvSpPr>
          <p:spPr>
            <a:xfrm>
              <a:off x="13727045" y="2513785"/>
              <a:ext cx="46025" cy="38065"/>
            </a:xfrm>
            <a:custGeom>
              <a:avLst/>
              <a:gdLst>
                <a:gd name="connsiteX0" fmla="*/ 31397 w 31571"/>
                <a:gd name="connsiteY0" fmla="*/ 11813 h 26111"/>
                <a:gd name="connsiteX1" fmla="*/ 10921 w 31571"/>
                <a:gd name="connsiteY1" fmla="*/ 25940 h 26111"/>
                <a:gd name="connsiteX2" fmla="*/ 639 w 31571"/>
                <a:gd name="connsiteY2" fmla="*/ 13333 h 26111"/>
                <a:gd name="connsiteX3" fmla="*/ 23529 w 31571"/>
                <a:gd name="connsiteY3" fmla="*/ 11 h 26111"/>
                <a:gd name="connsiteX4" fmla="*/ 31397 w 31571"/>
                <a:gd name="connsiteY4" fmla="*/ 11813 h 26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71" h="26111">
                  <a:moveTo>
                    <a:pt x="31397" y="11813"/>
                  </a:moveTo>
                  <a:cubicBezTo>
                    <a:pt x="27552" y="19592"/>
                    <a:pt x="21919" y="27371"/>
                    <a:pt x="10921" y="25940"/>
                  </a:cubicBezTo>
                  <a:cubicBezTo>
                    <a:pt x="5110" y="25135"/>
                    <a:pt x="-2222" y="21648"/>
                    <a:pt x="639" y="13333"/>
                  </a:cubicBezTo>
                  <a:cubicBezTo>
                    <a:pt x="4216" y="2961"/>
                    <a:pt x="13693" y="279"/>
                    <a:pt x="23529" y="11"/>
                  </a:cubicBezTo>
                  <a:cubicBezTo>
                    <a:pt x="30324" y="-257"/>
                    <a:pt x="32201" y="4481"/>
                    <a:pt x="31397" y="118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4" name="Freeform: Shape 253">
              <a:extLst>
                <a:ext uri="{FF2B5EF4-FFF2-40B4-BE49-F238E27FC236}">
                  <a16:creationId xmlns:a16="http://schemas.microsoft.com/office/drawing/2014/main" id="{DA731461-06A5-3A31-405E-819949D686A7}"/>
                </a:ext>
              </a:extLst>
            </p:cNvPr>
            <p:cNvSpPr/>
            <p:nvPr/>
          </p:nvSpPr>
          <p:spPr>
            <a:xfrm>
              <a:off x="13510280" y="2382645"/>
              <a:ext cx="33906" cy="36104"/>
            </a:xfrm>
            <a:custGeom>
              <a:avLst/>
              <a:gdLst>
                <a:gd name="connsiteX0" fmla="*/ 23170 w 23258"/>
                <a:gd name="connsiteY0" fmla="*/ 14682 h 24765"/>
                <a:gd name="connsiteX1" fmla="*/ 23170 w 23258"/>
                <a:gd name="connsiteY1" fmla="*/ 20226 h 24765"/>
                <a:gd name="connsiteX2" fmla="*/ 16553 w 23258"/>
                <a:gd name="connsiteY2" fmla="*/ 21567 h 24765"/>
                <a:gd name="connsiteX3" fmla="*/ 2605 w 23258"/>
                <a:gd name="connsiteY3" fmla="*/ 20226 h 24765"/>
                <a:gd name="connsiteX4" fmla="*/ 4572 w 23258"/>
                <a:gd name="connsiteY4" fmla="*/ 1002 h 24765"/>
                <a:gd name="connsiteX5" fmla="*/ 16553 w 23258"/>
                <a:gd name="connsiteY5" fmla="*/ 7350 h 24765"/>
                <a:gd name="connsiteX6" fmla="*/ 23259 w 23258"/>
                <a:gd name="connsiteY6" fmla="*/ 14772 h 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58" h="24765">
                  <a:moveTo>
                    <a:pt x="23170" y="14682"/>
                  </a:moveTo>
                  <a:cubicBezTo>
                    <a:pt x="23170" y="16560"/>
                    <a:pt x="23170" y="18348"/>
                    <a:pt x="23170" y="20226"/>
                  </a:cubicBezTo>
                  <a:cubicBezTo>
                    <a:pt x="20935" y="20673"/>
                    <a:pt x="18788" y="21120"/>
                    <a:pt x="16553" y="21567"/>
                  </a:cubicBezTo>
                  <a:cubicBezTo>
                    <a:pt x="12172" y="18169"/>
                    <a:pt x="6181" y="31313"/>
                    <a:pt x="2605" y="20226"/>
                  </a:cubicBezTo>
                  <a:cubicBezTo>
                    <a:pt x="-78" y="13430"/>
                    <a:pt x="-2313" y="5652"/>
                    <a:pt x="4572" y="1002"/>
                  </a:cubicBezTo>
                  <a:cubicBezTo>
                    <a:pt x="9311" y="-2217"/>
                    <a:pt x="13692" y="2969"/>
                    <a:pt x="16553" y="7350"/>
                  </a:cubicBezTo>
                  <a:cubicBezTo>
                    <a:pt x="18788" y="9854"/>
                    <a:pt x="21023" y="12268"/>
                    <a:pt x="23259" y="1477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6" name="Freeform: Shape 255">
              <a:extLst>
                <a:ext uri="{FF2B5EF4-FFF2-40B4-BE49-F238E27FC236}">
                  <a16:creationId xmlns:a16="http://schemas.microsoft.com/office/drawing/2014/main" id="{A9C920B9-3E5C-F992-7F99-41F7ECCAFFBB}"/>
                </a:ext>
              </a:extLst>
            </p:cNvPr>
            <p:cNvSpPr/>
            <p:nvPr/>
          </p:nvSpPr>
          <p:spPr>
            <a:xfrm>
              <a:off x="15509032" y="2788139"/>
              <a:ext cx="194084" cy="71211"/>
            </a:xfrm>
            <a:custGeom>
              <a:avLst/>
              <a:gdLst>
                <a:gd name="connsiteX0" fmla="*/ 101482 w 133132"/>
                <a:gd name="connsiteY0" fmla="*/ 48847 h 48847"/>
                <a:gd name="connsiteX1" fmla="*/ 80739 w 133132"/>
                <a:gd name="connsiteY1" fmla="*/ 48847 h 48847"/>
                <a:gd name="connsiteX2" fmla="*/ 32367 w 133132"/>
                <a:gd name="connsiteY2" fmla="*/ 43482 h 48847"/>
                <a:gd name="connsiteX3" fmla="*/ 0 w 133132"/>
                <a:gd name="connsiteY3" fmla="*/ 38386 h 48847"/>
                <a:gd name="connsiteX4" fmla="*/ 38983 w 133132"/>
                <a:gd name="connsiteY4" fmla="*/ 2532 h 48847"/>
                <a:gd name="connsiteX5" fmla="*/ 71261 w 133132"/>
                <a:gd name="connsiteY5" fmla="*/ 4678 h 48847"/>
                <a:gd name="connsiteX6" fmla="*/ 84047 w 133132"/>
                <a:gd name="connsiteY6" fmla="*/ 10489 h 48847"/>
                <a:gd name="connsiteX7" fmla="*/ 117218 w 133132"/>
                <a:gd name="connsiteY7" fmla="*/ 15854 h 48847"/>
                <a:gd name="connsiteX8" fmla="*/ 130004 w 133132"/>
                <a:gd name="connsiteY8" fmla="*/ 23454 h 48847"/>
                <a:gd name="connsiteX9" fmla="*/ 101571 w 133132"/>
                <a:gd name="connsiteY9" fmla="*/ 48847 h 4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132" h="48847">
                  <a:moveTo>
                    <a:pt x="101482" y="48847"/>
                  </a:moveTo>
                  <a:cubicBezTo>
                    <a:pt x="94597" y="48847"/>
                    <a:pt x="87623" y="48847"/>
                    <a:pt x="80739" y="48847"/>
                  </a:cubicBezTo>
                  <a:cubicBezTo>
                    <a:pt x="65180" y="42141"/>
                    <a:pt x="47924" y="50188"/>
                    <a:pt x="32367" y="43482"/>
                  </a:cubicBezTo>
                  <a:cubicBezTo>
                    <a:pt x="22174" y="41873"/>
                    <a:pt x="11891" y="40263"/>
                    <a:pt x="0" y="38386"/>
                  </a:cubicBezTo>
                  <a:cubicBezTo>
                    <a:pt x="8225" y="19699"/>
                    <a:pt x="17703" y="4946"/>
                    <a:pt x="38983" y="2532"/>
                  </a:cubicBezTo>
                  <a:cubicBezTo>
                    <a:pt x="49891" y="565"/>
                    <a:pt x="60978" y="-2922"/>
                    <a:pt x="71261" y="4678"/>
                  </a:cubicBezTo>
                  <a:cubicBezTo>
                    <a:pt x="73407" y="11384"/>
                    <a:pt x="78861" y="10579"/>
                    <a:pt x="84047" y="10489"/>
                  </a:cubicBezTo>
                  <a:cubicBezTo>
                    <a:pt x="94239" y="17642"/>
                    <a:pt x="106757" y="10221"/>
                    <a:pt x="117218" y="15854"/>
                  </a:cubicBezTo>
                  <a:cubicBezTo>
                    <a:pt x="121510" y="18358"/>
                    <a:pt x="125712" y="20951"/>
                    <a:pt x="130004" y="23454"/>
                  </a:cubicBezTo>
                  <a:cubicBezTo>
                    <a:pt x="143148" y="57341"/>
                    <a:pt x="111227" y="40621"/>
                    <a:pt x="101571" y="4884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3" name="Freeform: Shape 262">
              <a:extLst>
                <a:ext uri="{FF2B5EF4-FFF2-40B4-BE49-F238E27FC236}">
                  <a16:creationId xmlns:a16="http://schemas.microsoft.com/office/drawing/2014/main" id="{A0BCC4D6-E1C0-35DA-C978-1F9C50EC7B82}"/>
                </a:ext>
              </a:extLst>
            </p:cNvPr>
            <p:cNvSpPr/>
            <p:nvPr/>
          </p:nvSpPr>
          <p:spPr>
            <a:xfrm>
              <a:off x="6786996" y="3087195"/>
              <a:ext cx="81307" cy="83917"/>
            </a:xfrm>
            <a:custGeom>
              <a:avLst/>
              <a:gdLst>
                <a:gd name="connsiteX0" fmla="*/ 16475 w 55773"/>
                <a:gd name="connsiteY0" fmla="*/ 0 h 57563"/>
                <a:gd name="connsiteX1" fmla="*/ 55012 w 55773"/>
                <a:gd name="connsiteY1" fmla="*/ 52932 h 57563"/>
                <a:gd name="connsiteX2" fmla="*/ 55369 w 55773"/>
                <a:gd name="connsiteY2" fmla="*/ 52663 h 57563"/>
                <a:gd name="connsiteX3" fmla="*/ 16565 w 55773"/>
                <a:gd name="connsiteY3" fmla="*/ 54273 h 57563"/>
                <a:gd name="connsiteX4" fmla="*/ 16475 w 55773"/>
                <a:gd name="connsiteY4" fmla="*/ 89 h 5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73" h="57563">
                  <a:moveTo>
                    <a:pt x="16475" y="0"/>
                  </a:moveTo>
                  <a:cubicBezTo>
                    <a:pt x="31049" y="16362"/>
                    <a:pt x="60913" y="21638"/>
                    <a:pt x="55012" y="52932"/>
                  </a:cubicBezTo>
                  <a:lnTo>
                    <a:pt x="55369" y="52663"/>
                  </a:lnTo>
                  <a:cubicBezTo>
                    <a:pt x="42673" y="60085"/>
                    <a:pt x="29619" y="57760"/>
                    <a:pt x="16565" y="54273"/>
                  </a:cubicBezTo>
                  <a:cubicBezTo>
                    <a:pt x="-5493" y="47716"/>
                    <a:pt x="-5520" y="29655"/>
                    <a:pt x="16475"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4" name="Freeform: Shape 263">
              <a:extLst>
                <a:ext uri="{FF2B5EF4-FFF2-40B4-BE49-F238E27FC236}">
                  <a16:creationId xmlns:a16="http://schemas.microsoft.com/office/drawing/2014/main" id="{BCDDE459-38BE-EEE3-A5A9-C1786F856014}"/>
                </a:ext>
              </a:extLst>
            </p:cNvPr>
            <p:cNvSpPr/>
            <p:nvPr/>
          </p:nvSpPr>
          <p:spPr>
            <a:xfrm>
              <a:off x="11827246" y="2082594"/>
              <a:ext cx="242007" cy="113783"/>
            </a:xfrm>
            <a:custGeom>
              <a:avLst/>
              <a:gdLst>
                <a:gd name="connsiteX0" fmla="*/ 44986 w 166006"/>
                <a:gd name="connsiteY0" fmla="*/ 66983 h 78050"/>
                <a:gd name="connsiteX1" fmla="*/ 43287 w 166006"/>
                <a:gd name="connsiteY1" fmla="*/ 66536 h 78050"/>
                <a:gd name="connsiteX2" fmla="*/ 42214 w 166006"/>
                <a:gd name="connsiteY2" fmla="*/ 67966 h 78050"/>
                <a:gd name="connsiteX3" fmla="*/ 22991 w 166006"/>
                <a:gd name="connsiteY3" fmla="*/ 68413 h 78050"/>
                <a:gd name="connsiteX4" fmla="*/ 280 w 166006"/>
                <a:gd name="connsiteY4" fmla="*/ 53660 h 78050"/>
                <a:gd name="connsiteX5" fmla="*/ 16196 w 166006"/>
                <a:gd name="connsiteY5" fmla="*/ 36583 h 78050"/>
                <a:gd name="connsiteX6" fmla="*/ 46506 w 166006"/>
                <a:gd name="connsiteY6" fmla="*/ 18164 h 78050"/>
                <a:gd name="connsiteX7" fmla="*/ 63852 w 166006"/>
                <a:gd name="connsiteY7" fmla="*/ 12710 h 78050"/>
                <a:gd name="connsiteX8" fmla="*/ 124116 w 166006"/>
                <a:gd name="connsiteY8" fmla="*/ 3501 h 78050"/>
                <a:gd name="connsiteX9" fmla="*/ 124116 w 166006"/>
                <a:gd name="connsiteY9" fmla="*/ 3501 h 78050"/>
                <a:gd name="connsiteX10" fmla="*/ 156751 w 166006"/>
                <a:gd name="connsiteY10" fmla="*/ 2606 h 78050"/>
                <a:gd name="connsiteX11" fmla="*/ 154515 w 166006"/>
                <a:gd name="connsiteY11" fmla="*/ 74046 h 78050"/>
                <a:gd name="connsiteX12" fmla="*/ 131000 w 166006"/>
                <a:gd name="connsiteY12" fmla="*/ 76639 h 78050"/>
                <a:gd name="connsiteX13" fmla="*/ 92643 w 166006"/>
                <a:gd name="connsiteY13" fmla="*/ 74493 h 78050"/>
                <a:gd name="connsiteX14" fmla="*/ 92732 w 166006"/>
                <a:gd name="connsiteY14" fmla="*/ 74493 h 78050"/>
                <a:gd name="connsiteX15" fmla="*/ 44897 w 166006"/>
                <a:gd name="connsiteY15" fmla="*/ 66983 h 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6006" h="78050">
                  <a:moveTo>
                    <a:pt x="44986" y="66983"/>
                  </a:moveTo>
                  <a:lnTo>
                    <a:pt x="43287" y="66536"/>
                  </a:lnTo>
                  <a:lnTo>
                    <a:pt x="42214" y="67966"/>
                  </a:lnTo>
                  <a:cubicBezTo>
                    <a:pt x="35777" y="65463"/>
                    <a:pt x="29429" y="69129"/>
                    <a:pt x="22991" y="68413"/>
                  </a:cubicBezTo>
                  <a:cubicBezTo>
                    <a:pt x="13067" y="67251"/>
                    <a:pt x="2427" y="64658"/>
                    <a:pt x="280" y="53660"/>
                  </a:cubicBezTo>
                  <a:cubicBezTo>
                    <a:pt x="-1776" y="43110"/>
                    <a:pt x="7881" y="38997"/>
                    <a:pt x="16196" y="36583"/>
                  </a:cubicBezTo>
                  <a:cubicBezTo>
                    <a:pt x="28088" y="33096"/>
                    <a:pt x="35598" y="22992"/>
                    <a:pt x="46506" y="18164"/>
                  </a:cubicBezTo>
                  <a:cubicBezTo>
                    <a:pt x="52050" y="15482"/>
                    <a:pt x="57772" y="13515"/>
                    <a:pt x="63852" y="12710"/>
                  </a:cubicBezTo>
                  <a:cubicBezTo>
                    <a:pt x="83970" y="9581"/>
                    <a:pt x="106412" y="22098"/>
                    <a:pt x="124116" y="3501"/>
                  </a:cubicBezTo>
                  <a:lnTo>
                    <a:pt x="124116" y="3501"/>
                  </a:lnTo>
                  <a:cubicBezTo>
                    <a:pt x="134845" y="-1685"/>
                    <a:pt x="145753" y="-344"/>
                    <a:pt x="156751" y="2606"/>
                  </a:cubicBezTo>
                  <a:cubicBezTo>
                    <a:pt x="177494" y="26837"/>
                    <a:pt x="157287" y="50442"/>
                    <a:pt x="154515" y="74046"/>
                  </a:cubicBezTo>
                  <a:cubicBezTo>
                    <a:pt x="153711" y="80931"/>
                    <a:pt x="139226" y="76907"/>
                    <a:pt x="131000" y="76639"/>
                  </a:cubicBezTo>
                  <a:cubicBezTo>
                    <a:pt x="118214" y="76192"/>
                    <a:pt x="105428" y="75209"/>
                    <a:pt x="92643" y="74493"/>
                  </a:cubicBezTo>
                  <a:lnTo>
                    <a:pt x="92732" y="74493"/>
                  </a:lnTo>
                  <a:cubicBezTo>
                    <a:pt x="77443" y="67877"/>
                    <a:pt x="60812" y="69486"/>
                    <a:pt x="44897" y="6698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5" name="Freeform: Shape 264">
              <a:extLst>
                <a:ext uri="{FF2B5EF4-FFF2-40B4-BE49-F238E27FC236}">
                  <a16:creationId xmlns:a16="http://schemas.microsoft.com/office/drawing/2014/main" id="{65FEC166-3BB5-9B35-56DD-67F92A02E6F3}"/>
                </a:ext>
              </a:extLst>
            </p:cNvPr>
            <p:cNvSpPr/>
            <p:nvPr/>
          </p:nvSpPr>
          <p:spPr>
            <a:xfrm>
              <a:off x="12105947" y="2129022"/>
              <a:ext cx="153008" cy="136338"/>
            </a:xfrm>
            <a:custGeom>
              <a:avLst/>
              <a:gdLst>
                <a:gd name="connsiteX0" fmla="*/ 57492 w 104957"/>
                <a:gd name="connsiteY0" fmla="*/ 10101 h 93521"/>
                <a:gd name="connsiteX1" fmla="*/ 70277 w 104957"/>
                <a:gd name="connsiteY1" fmla="*/ 18416 h 93521"/>
                <a:gd name="connsiteX2" fmla="*/ 83958 w 104957"/>
                <a:gd name="connsiteY2" fmla="*/ 31023 h 93521"/>
                <a:gd name="connsiteX3" fmla="*/ 104164 w 104957"/>
                <a:gd name="connsiteY3" fmla="*/ 49621 h 93521"/>
                <a:gd name="connsiteX4" fmla="*/ 74837 w 104957"/>
                <a:gd name="connsiteY4" fmla="*/ 68933 h 93521"/>
                <a:gd name="connsiteX5" fmla="*/ 8852 w 104957"/>
                <a:gd name="connsiteY5" fmla="*/ 93522 h 93521"/>
                <a:gd name="connsiteX6" fmla="*/ 0 w 104957"/>
                <a:gd name="connsiteY6" fmla="*/ 6345 h 93521"/>
                <a:gd name="connsiteX7" fmla="*/ 57581 w 104957"/>
                <a:gd name="connsiteY7" fmla="*/ 10011 h 9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957" h="93521">
                  <a:moveTo>
                    <a:pt x="57492" y="10101"/>
                  </a:moveTo>
                  <a:cubicBezTo>
                    <a:pt x="61783" y="12872"/>
                    <a:pt x="65986" y="15644"/>
                    <a:pt x="70277" y="18416"/>
                  </a:cubicBezTo>
                  <a:cubicBezTo>
                    <a:pt x="73228" y="24317"/>
                    <a:pt x="77341" y="28877"/>
                    <a:pt x="83958" y="31023"/>
                  </a:cubicBezTo>
                  <a:cubicBezTo>
                    <a:pt x="93793" y="34152"/>
                    <a:pt x="108546" y="36030"/>
                    <a:pt x="104164" y="49621"/>
                  </a:cubicBezTo>
                  <a:cubicBezTo>
                    <a:pt x="100588" y="60708"/>
                    <a:pt x="90842" y="70901"/>
                    <a:pt x="74837" y="68933"/>
                  </a:cubicBezTo>
                  <a:cubicBezTo>
                    <a:pt x="49713" y="65893"/>
                    <a:pt x="23336" y="60350"/>
                    <a:pt x="8852" y="93522"/>
                  </a:cubicBezTo>
                  <a:cubicBezTo>
                    <a:pt x="13322" y="42021"/>
                    <a:pt x="10372" y="12962"/>
                    <a:pt x="0" y="6345"/>
                  </a:cubicBezTo>
                  <a:cubicBezTo>
                    <a:pt x="20922" y="-15024"/>
                    <a:pt x="37553" y="25748"/>
                    <a:pt x="57581" y="1001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6" name="Freeform: Shape 265">
              <a:extLst>
                <a:ext uri="{FF2B5EF4-FFF2-40B4-BE49-F238E27FC236}">
                  <a16:creationId xmlns:a16="http://schemas.microsoft.com/office/drawing/2014/main" id="{642382E8-6AE7-39C2-7818-8A37ED47FDDB}"/>
                </a:ext>
              </a:extLst>
            </p:cNvPr>
            <p:cNvSpPr/>
            <p:nvPr/>
          </p:nvSpPr>
          <p:spPr>
            <a:xfrm>
              <a:off x="7907358" y="2896550"/>
              <a:ext cx="95181" cy="32710"/>
            </a:xfrm>
            <a:custGeom>
              <a:avLst/>
              <a:gdLst>
                <a:gd name="connsiteX0" fmla="*/ 63929 w 65290"/>
                <a:gd name="connsiteY0" fmla="*/ 8638 h 22438"/>
                <a:gd name="connsiteX1" fmla="*/ 51412 w 65290"/>
                <a:gd name="connsiteY1" fmla="*/ 21513 h 22438"/>
                <a:gd name="connsiteX2" fmla="*/ 0 w 65290"/>
                <a:gd name="connsiteY2" fmla="*/ 7654 h 22438"/>
                <a:gd name="connsiteX3" fmla="*/ 46047 w 65290"/>
                <a:gd name="connsiteY3" fmla="*/ 412 h 22438"/>
                <a:gd name="connsiteX4" fmla="*/ 63929 w 65290"/>
                <a:gd name="connsiteY4" fmla="*/ 8638 h 22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22438">
                  <a:moveTo>
                    <a:pt x="63929" y="8638"/>
                  </a:moveTo>
                  <a:cubicBezTo>
                    <a:pt x="68132" y="21066"/>
                    <a:pt x="62230" y="24285"/>
                    <a:pt x="51412" y="21513"/>
                  </a:cubicBezTo>
                  <a:cubicBezTo>
                    <a:pt x="35139" y="17490"/>
                    <a:pt x="19045" y="12840"/>
                    <a:pt x="0" y="7654"/>
                  </a:cubicBezTo>
                  <a:cubicBezTo>
                    <a:pt x="16005" y="-5489"/>
                    <a:pt x="31830" y="2826"/>
                    <a:pt x="46047" y="412"/>
                  </a:cubicBezTo>
                  <a:cubicBezTo>
                    <a:pt x="51501" y="4167"/>
                    <a:pt x="56329" y="9443"/>
                    <a:pt x="63929" y="86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7" name="Freeform: Shape 266">
              <a:extLst>
                <a:ext uri="{FF2B5EF4-FFF2-40B4-BE49-F238E27FC236}">
                  <a16:creationId xmlns:a16="http://schemas.microsoft.com/office/drawing/2014/main" id="{75A0CD8E-8D4F-CC4E-E040-CDFD67E86A93}"/>
                </a:ext>
              </a:extLst>
            </p:cNvPr>
            <p:cNvSpPr/>
            <p:nvPr/>
          </p:nvSpPr>
          <p:spPr>
            <a:xfrm>
              <a:off x="8096079" y="2655227"/>
              <a:ext cx="21185" cy="44057"/>
            </a:xfrm>
            <a:custGeom>
              <a:avLst/>
              <a:gdLst>
                <a:gd name="connsiteX0" fmla="*/ 13515 w 14532"/>
                <a:gd name="connsiteY0" fmla="*/ 22532 h 30221"/>
                <a:gd name="connsiteX1" fmla="*/ 4216 w 14532"/>
                <a:gd name="connsiteY1" fmla="*/ 30221 h 30221"/>
                <a:gd name="connsiteX2" fmla="*/ 9849 w 14532"/>
                <a:gd name="connsiteY2" fmla="*/ 0 h 30221"/>
                <a:gd name="connsiteX3" fmla="*/ 13515 w 14532"/>
                <a:gd name="connsiteY3" fmla="*/ 22532 h 30221"/>
              </a:gdLst>
              <a:ahLst/>
              <a:cxnLst>
                <a:cxn ang="0">
                  <a:pos x="connsiteX0" y="connsiteY0"/>
                </a:cxn>
                <a:cxn ang="0">
                  <a:pos x="connsiteX1" y="connsiteY1"/>
                </a:cxn>
                <a:cxn ang="0">
                  <a:pos x="connsiteX2" y="connsiteY2"/>
                </a:cxn>
                <a:cxn ang="0">
                  <a:pos x="connsiteX3" y="connsiteY3"/>
                </a:cxn>
              </a:cxnLst>
              <a:rect l="l" t="t" r="r" b="b"/>
              <a:pathLst>
                <a:path w="14532" h="30221">
                  <a:moveTo>
                    <a:pt x="13515" y="22532"/>
                  </a:moveTo>
                  <a:cubicBezTo>
                    <a:pt x="10386" y="25125"/>
                    <a:pt x="7346" y="27628"/>
                    <a:pt x="4216" y="30221"/>
                  </a:cubicBezTo>
                  <a:cubicBezTo>
                    <a:pt x="-2311" y="18598"/>
                    <a:pt x="-1864" y="8226"/>
                    <a:pt x="9849" y="0"/>
                  </a:cubicBezTo>
                  <a:cubicBezTo>
                    <a:pt x="17360" y="6527"/>
                    <a:pt x="13604" y="14842"/>
                    <a:pt x="13515" y="2253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8" name="Freeform: Shape 267">
              <a:extLst>
                <a:ext uri="{FF2B5EF4-FFF2-40B4-BE49-F238E27FC236}">
                  <a16:creationId xmlns:a16="http://schemas.microsoft.com/office/drawing/2014/main" id="{A8F01D8F-EF1D-10A4-30C0-B86313DA223B}"/>
                </a:ext>
              </a:extLst>
            </p:cNvPr>
            <p:cNvSpPr/>
            <p:nvPr/>
          </p:nvSpPr>
          <p:spPr>
            <a:xfrm>
              <a:off x="15871900" y="7597451"/>
              <a:ext cx="145090" cy="83435"/>
            </a:xfrm>
            <a:custGeom>
              <a:avLst/>
              <a:gdLst>
                <a:gd name="connsiteX0" fmla="*/ 99524 w 99524"/>
                <a:gd name="connsiteY0" fmla="*/ 55249 h 57232"/>
                <a:gd name="connsiteX1" fmla="*/ 33628 w 99524"/>
                <a:gd name="connsiteY1" fmla="*/ 32360 h 57232"/>
                <a:gd name="connsiteX2" fmla="*/ 19054 w 99524"/>
                <a:gd name="connsiteY2" fmla="*/ 21004 h 57232"/>
                <a:gd name="connsiteX3" fmla="*/ 993 w 99524"/>
                <a:gd name="connsiteY3" fmla="*/ 5536 h 57232"/>
                <a:gd name="connsiteX4" fmla="*/ 27280 w 99524"/>
                <a:gd name="connsiteY4" fmla="*/ 4463 h 57232"/>
                <a:gd name="connsiteX5" fmla="*/ 99524 w 99524"/>
                <a:gd name="connsiteY5" fmla="*/ 55249 h 5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24" h="57232">
                  <a:moveTo>
                    <a:pt x="99524" y="55249"/>
                  </a:moveTo>
                  <a:cubicBezTo>
                    <a:pt x="68499" y="64459"/>
                    <a:pt x="54640" y="38976"/>
                    <a:pt x="33628" y="32360"/>
                  </a:cubicBezTo>
                  <a:cubicBezTo>
                    <a:pt x="28532" y="30750"/>
                    <a:pt x="26833" y="21004"/>
                    <a:pt x="19054" y="21004"/>
                  </a:cubicBezTo>
                  <a:cubicBezTo>
                    <a:pt x="7967" y="21004"/>
                    <a:pt x="-3478" y="16713"/>
                    <a:pt x="993" y="5536"/>
                  </a:cubicBezTo>
                  <a:cubicBezTo>
                    <a:pt x="4569" y="-3316"/>
                    <a:pt x="19054" y="82"/>
                    <a:pt x="27280" y="4463"/>
                  </a:cubicBezTo>
                  <a:cubicBezTo>
                    <a:pt x="52315" y="17607"/>
                    <a:pt x="79317" y="28247"/>
                    <a:pt x="99524" y="552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9" name="Freeform: Shape 268">
              <a:extLst>
                <a:ext uri="{FF2B5EF4-FFF2-40B4-BE49-F238E27FC236}">
                  <a16:creationId xmlns:a16="http://schemas.microsoft.com/office/drawing/2014/main" id="{C0FDEAB5-E154-8545-4113-384557F298C7}"/>
                </a:ext>
              </a:extLst>
            </p:cNvPr>
            <p:cNvSpPr/>
            <p:nvPr/>
          </p:nvSpPr>
          <p:spPr>
            <a:xfrm>
              <a:off x="15013675" y="3811395"/>
              <a:ext cx="36405" cy="41711"/>
            </a:xfrm>
            <a:custGeom>
              <a:avLst/>
              <a:gdLst>
                <a:gd name="connsiteX0" fmla="*/ 24973 w 24972"/>
                <a:gd name="connsiteY0" fmla="*/ 8944 h 28611"/>
                <a:gd name="connsiteX1" fmla="*/ 9683 w 24972"/>
                <a:gd name="connsiteY1" fmla="*/ 27542 h 28611"/>
                <a:gd name="connsiteX2" fmla="*/ 116 w 24972"/>
                <a:gd name="connsiteY2" fmla="*/ 20120 h 28611"/>
                <a:gd name="connsiteX3" fmla="*/ 10309 w 24972"/>
                <a:gd name="connsiteY3" fmla="*/ 271 h 28611"/>
                <a:gd name="connsiteX4" fmla="*/ 24973 w 24972"/>
                <a:gd name="connsiteY4" fmla="*/ 8944 h 28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2" h="28611">
                  <a:moveTo>
                    <a:pt x="24973" y="8944"/>
                  </a:moveTo>
                  <a:cubicBezTo>
                    <a:pt x="23363" y="17975"/>
                    <a:pt x="17283" y="23786"/>
                    <a:pt x="9683" y="27542"/>
                  </a:cubicBezTo>
                  <a:cubicBezTo>
                    <a:pt x="3246" y="30671"/>
                    <a:pt x="295" y="26558"/>
                    <a:pt x="116" y="20120"/>
                  </a:cubicBezTo>
                  <a:cubicBezTo>
                    <a:pt x="-62" y="11626"/>
                    <a:pt x="-1225" y="2149"/>
                    <a:pt x="10309" y="271"/>
                  </a:cubicBezTo>
                  <a:cubicBezTo>
                    <a:pt x="16568" y="-712"/>
                    <a:pt x="23095" y="718"/>
                    <a:pt x="24973" y="894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0" name="Freeform: Shape 269">
              <a:extLst>
                <a:ext uri="{FF2B5EF4-FFF2-40B4-BE49-F238E27FC236}">
                  <a16:creationId xmlns:a16="http://schemas.microsoft.com/office/drawing/2014/main" id="{05E4B79D-5C7A-B91C-7AFF-7F9248117242}"/>
                </a:ext>
              </a:extLst>
            </p:cNvPr>
            <p:cNvSpPr/>
            <p:nvPr/>
          </p:nvSpPr>
          <p:spPr>
            <a:xfrm>
              <a:off x="15934878" y="6193834"/>
              <a:ext cx="45567" cy="35643"/>
            </a:xfrm>
            <a:custGeom>
              <a:avLst/>
              <a:gdLst>
                <a:gd name="connsiteX0" fmla="*/ 21275 w 31257"/>
                <a:gd name="connsiteY0" fmla="*/ 1993 h 24449"/>
                <a:gd name="connsiteX1" fmla="*/ 25835 w 31257"/>
                <a:gd name="connsiteY1" fmla="*/ 3692 h 24449"/>
                <a:gd name="connsiteX2" fmla="*/ 15196 w 31257"/>
                <a:gd name="connsiteY2" fmla="*/ 24346 h 24449"/>
                <a:gd name="connsiteX3" fmla="*/ 622 w 31257"/>
                <a:gd name="connsiteY3" fmla="*/ 15941 h 24449"/>
                <a:gd name="connsiteX4" fmla="*/ 21275 w 31257"/>
                <a:gd name="connsiteY4" fmla="*/ 1993 h 24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57" h="24449">
                  <a:moveTo>
                    <a:pt x="21275" y="1993"/>
                  </a:moveTo>
                  <a:cubicBezTo>
                    <a:pt x="22348" y="3781"/>
                    <a:pt x="23868" y="4318"/>
                    <a:pt x="25835" y="3692"/>
                  </a:cubicBezTo>
                  <a:cubicBezTo>
                    <a:pt x="34240" y="16746"/>
                    <a:pt x="34419" y="25508"/>
                    <a:pt x="15196" y="24346"/>
                  </a:cubicBezTo>
                  <a:cubicBezTo>
                    <a:pt x="10815" y="20769"/>
                    <a:pt x="2678" y="23720"/>
                    <a:pt x="622" y="15941"/>
                  </a:cubicBezTo>
                  <a:cubicBezTo>
                    <a:pt x="-2955" y="-4176"/>
                    <a:pt x="9563" y="-511"/>
                    <a:pt x="21275" y="19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1" name="Freeform: Shape 270">
              <a:extLst>
                <a:ext uri="{FF2B5EF4-FFF2-40B4-BE49-F238E27FC236}">
                  <a16:creationId xmlns:a16="http://schemas.microsoft.com/office/drawing/2014/main" id="{819658E6-7790-D88A-FCA7-497DC978A32B}"/>
                </a:ext>
              </a:extLst>
            </p:cNvPr>
            <p:cNvSpPr/>
            <p:nvPr/>
          </p:nvSpPr>
          <p:spPr>
            <a:xfrm>
              <a:off x="16559230" y="7366493"/>
              <a:ext cx="35714" cy="23046"/>
            </a:xfrm>
            <a:custGeom>
              <a:avLst/>
              <a:gdLst>
                <a:gd name="connsiteX0" fmla="*/ 0 w 24498"/>
                <a:gd name="connsiteY0" fmla="*/ 15809 h 15808"/>
                <a:gd name="connsiteX1" fmla="*/ 24499 w 24498"/>
                <a:gd name="connsiteY1" fmla="*/ 9639 h 15808"/>
                <a:gd name="connsiteX2" fmla="*/ 0 w 24498"/>
                <a:gd name="connsiteY2" fmla="*/ 15809 h 15808"/>
              </a:gdLst>
              <a:ahLst/>
              <a:cxnLst>
                <a:cxn ang="0">
                  <a:pos x="connsiteX0" y="connsiteY0"/>
                </a:cxn>
                <a:cxn ang="0">
                  <a:pos x="connsiteX1" y="connsiteY1"/>
                </a:cxn>
                <a:cxn ang="0">
                  <a:pos x="connsiteX2" y="connsiteY2"/>
                </a:cxn>
              </a:cxnLst>
              <a:rect l="l" t="t" r="r" b="b"/>
              <a:pathLst>
                <a:path w="24498" h="15808">
                  <a:moveTo>
                    <a:pt x="0" y="15809"/>
                  </a:moveTo>
                  <a:cubicBezTo>
                    <a:pt x="3219" y="-6097"/>
                    <a:pt x="12786" y="-2342"/>
                    <a:pt x="24499" y="9639"/>
                  </a:cubicBezTo>
                  <a:cubicBezTo>
                    <a:pt x="16363" y="11696"/>
                    <a:pt x="8137" y="13752"/>
                    <a:pt x="0" y="158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2" name="Freeform: Shape 271">
              <a:extLst>
                <a:ext uri="{FF2B5EF4-FFF2-40B4-BE49-F238E27FC236}">
                  <a16:creationId xmlns:a16="http://schemas.microsoft.com/office/drawing/2014/main" id="{B74ECF31-6897-D8AD-D63B-BC0524096F47}"/>
                </a:ext>
              </a:extLst>
            </p:cNvPr>
            <p:cNvSpPr/>
            <p:nvPr/>
          </p:nvSpPr>
          <p:spPr>
            <a:xfrm>
              <a:off x="13270134" y="2653074"/>
              <a:ext cx="81893" cy="50250"/>
            </a:xfrm>
            <a:custGeom>
              <a:avLst/>
              <a:gdLst>
                <a:gd name="connsiteX0" fmla="*/ 30356 w 56174"/>
                <a:gd name="connsiteY0" fmla="*/ 34469 h 34469"/>
                <a:gd name="connsiteX1" fmla="*/ 24634 w 56174"/>
                <a:gd name="connsiteY1" fmla="*/ 31340 h 34469"/>
                <a:gd name="connsiteX2" fmla="*/ 1566 w 56174"/>
                <a:gd name="connsiteY2" fmla="*/ 8272 h 34469"/>
                <a:gd name="connsiteX3" fmla="*/ 35095 w 56174"/>
                <a:gd name="connsiteY3" fmla="*/ 8182 h 34469"/>
                <a:gd name="connsiteX4" fmla="*/ 51726 w 56174"/>
                <a:gd name="connsiteY4" fmla="*/ 10328 h 34469"/>
                <a:gd name="connsiteX5" fmla="*/ 55392 w 56174"/>
                <a:gd name="connsiteY5" fmla="*/ 22309 h 34469"/>
                <a:gd name="connsiteX6" fmla="*/ 30356 w 56174"/>
                <a:gd name="connsiteY6" fmla="*/ 34469 h 34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74" h="34469">
                  <a:moveTo>
                    <a:pt x="30356" y="34469"/>
                  </a:moveTo>
                  <a:cubicBezTo>
                    <a:pt x="28479" y="33486"/>
                    <a:pt x="26422" y="32681"/>
                    <a:pt x="24634" y="31340"/>
                  </a:cubicBezTo>
                  <a:cubicBezTo>
                    <a:pt x="15514" y="24634"/>
                    <a:pt x="-5945" y="25618"/>
                    <a:pt x="1566" y="8272"/>
                  </a:cubicBezTo>
                  <a:cubicBezTo>
                    <a:pt x="8629" y="-8180"/>
                    <a:pt x="23561" y="4338"/>
                    <a:pt x="35095" y="8182"/>
                  </a:cubicBezTo>
                  <a:cubicBezTo>
                    <a:pt x="40639" y="8898"/>
                    <a:pt x="46182" y="9613"/>
                    <a:pt x="51726" y="10328"/>
                  </a:cubicBezTo>
                  <a:cubicBezTo>
                    <a:pt x="58790" y="12564"/>
                    <a:pt x="55302" y="18018"/>
                    <a:pt x="55392" y="22309"/>
                  </a:cubicBezTo>
                  <a:cubicBezTo>
                    <a:pt x="50385" y="33218"/>
                    <a:pt x="35721" y="24187"/>
                    <a:pt x="30356" y="3446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3" name="Freeform: Shape 272">
              <a:extLst>
                <a:ext uri="{FF2B5EF4-FFF2-40B4-BE49-F238E27FC236}">
                  <a16:creationId xmlns:a16="http://schemas.microsoft.com/office/drawing/2014/main" id="{FD3FAF52-3EEE-58DB-FC88-812386AEDD72}"/>
                </a:ext>
              </a:extLst>
            </p:cNvPr>
            <p:cNvSpPr/>
            <p:nvPr/>
          </p:nvSpPr>
          <p:spPr>
            <a:xfrm>
              <a:off x="6171133" y="9496458"/>
              <a:ext cx="55929" cy="30141"/>
            </a:xfrm>
            <a:custGeom>
              <a:avLst/>
              <a:gdLst>
                <a:gd name="connsiteX0" fmla="*/ 13688 w 38365"/>
                <a:gd name="connsiteY0" fmla="*/ 20386 h 20675"/>
                <a:gd name="connsiteX1" fmla="*/ 992 w 38365"/>
                <a:gd name="connsiteY1" fmla="*/ 7511 h 20675"/>
                <a:gd name="connsiteX2" fmla="*/ 13777 w 38365"/>
                <a:gd name="connsiteY2" fmla="*/ 0 h 20675"/>
                <a:gd name="connsiteX3" fmla="*/ 38366 w 38365"/>
                <a:gd name="connsiteY3" fmla="*/ 1609 h 20675"/>
                <a:gd name="connsiteX4" fmla="*/ 13688 w 38365"/>
                <a:gd name="connsiteY4" fmla="*/ 20386 h 20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65" h="20675">
                  <a:moveTo>
                    <a:pt x="13688" y="20386"/>
                  </a:moveTo>
                  <a:cubicBezTo>
                    <a:pt x="3942" y="21548"/>
                    <a:pt x="-2585" y="19581"/>
                    <a:pt x="992" y="7511"/>
                  </a:cubicBezTo>
                  <a:cubicBezTo>
                    <a:pt x="5283" y="5007"/>
                    <a:pt x="9486" y="2504"/>
                    <a:pt x="13777" y="0"/>
                  </a:cubicBezTo>
                  <a:cubicBezTo>
                    <a:pt x="21824" y="536"/>
                    <a:pt x="29872" y="1073"/>
                    <a:pt x="38366" y="1609"/>
                  </a:cubicBezTo>
                  <a:cubicBezTo>
                    <a:pt x="35057" y="16273"/>
                    <a:pt x="20215" y="12518"/>
                    <a:pt x="13688" y="2038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4" name="Freeform: Shape 273">
              <a:extLst>
                <a:ext uri="{FF2B5EF4-FFF2-40B4-BE49-F238E27FC236}">
                  <a16:creationId xmlns:a16="http://schemas.microsoft.com/office/drawing/2014/main" id="{B6C4730C-E30B-DC4B-E5AE-DC5A11DAC431}"/>
                </a:ext>
              </a:extLst>
            </p:cNvPr>
            <p:cNvSpPr/>
            <p:nvPr/>
          </p:nvSpPr>
          <p:spPr>
            <a:xfrm>
              <a:off x="6247747" y="9483365"/>
              <a:ext cx="38361" cy="35643"/>
            </a:xfrm>
            <a:custGeom>
              <a:avLst/>
              <a:gdLst>
                <a:gd name="connsiteX0" fmla="*/ 7001 w 26314"/>
                <a:gd name="connsiteY0" fmla="*/ 24450 h 24449"/>
                <a:gd name="connsiteX1" fmla="*/ 474 w 26314"/>
                <a:gd name="connsiteY1" fmla="*/ 9876 h 24449"/>
                <a:gd name="connsiteX2" fmla="*/ 474 w 26314"/>
                <a:gd name="connsiteY2" fmla="*/ 9876 h 24449"/>
                <a:gd name="connsiteX3" fmla="*/ 26314 w 26314"/>
                <a:gd name="connsiteY3" fmla="*/ 4511 h 24449"/>
                <a:gd name="connsiteX4" fmla="*/ 7091 w 26314"/>
                <a:gd name="connsiteY4" fmla="*/ 24450 h 24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4" h="24449">
                  <a:moveTo>
                    <a:pt x="7001" y="24450"/>
                  </a:moveTo>
                  <a:cubicBezTo>
                    <a:pt x="-1850" y="22572"/>
                    <a:pt x="27" y="15956"/>
                    <a:pt x="474" y="9876"/>
                  </a:cubicBezTo>
                  <a:lnTo>
                    <a:pt x="474" y="9876"/>
                  </a:lnTo>
                  <a:cubicBezTo>
                    <a:pt x="7448" y="40"/>
                    <a:pt x="15585" y="-3715"/>
                    <a:pt x="26314" y="4511"/>
                  </a:cubicBezTo>
                  <a:cubicBezTo>
                    <a:pt x="19877" y="11127"/>
                    <a:pt x="13439" y="17833"/>
                    <a:pt x="7091" y="2445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5" name="Freeform: Shape 274">
              <a:extLst>
                <a:ext uri="{FF2B5EF4-FFF2-40B4-BE49-F238E27FC236}">
                  <a16:creationId xmlns:a16="http://schemas.microsoft.com/office/drawing/2014/main" id="{0B4C964A-6390-51CD-EADF-CE41EE77459C}"/>
                </a:ext>
              </a:extLst>
            </p:cNvPr>
            <p:cNvSpPr/>
            <p:nvPr/>
          </p:nvSpPr>
          <p:spPr>
            <a:xfrm>
              <a:off x="11767776" y="2042976"/>
              <a:ext cx="200784" cy="81369"/>
            </a:xfrm>
            <a:custGeom>
              <a:avLst/>
              <a:gdLst>
                <a:gd name="connsiteX0" fmla="*/ 16755 w 137728"/>
                <a:gd name="connsiteY0" fmla="*/ 18875 h 55815"/>
                <a:gd name="connsiteX1" fmla="*/ 53772 w 137728"/>
                <a:gd name="connsiteY1" fmla="*/ 16639 h 55815"/>
                <a:gd name="connsiteX2" fmla="*/ 66289 w 137728"/>
                <a:gd name="connsiteY2" fmla="*/ 4658 h 55815"/>
                <a:gd name="connsiteX3" fmla="*/ 137729 w 137728"/>
                <a:gd name="connsiteY3" fmla="*/ 17355 h 55815"/>
                <a:gd name="connsiteX4" fmla="*/ 119310 w 137728"/>
                <a:gd name="connsiteY4" fmla="*/ 30856 h 55815"/>
                <a:gd name="connsiteX5" fmla="*/ 104558 w 137728"/>
                <a:gd name="connsiteY5" fmla="*/ 40780 h 55815"/>
                <a:gd name="connsiteX6" fmla="*/ 77645 w 137728"/>
                <a:gd name="connsiteY6" fmla="*/ 49632 h 55815"/>
                <a:gd name="connsiteX7" fmla="*/ 7099 w 137728"/>
                <a:gd name="connsiteY7" fmla="*/ 49364 h 55815"/>
                <a:gd name="connsiteX8" fmla="*/ 9156 w 137728"/>
                <a:gd name="connsiteY8" fmla="*/ 22898 h 55815"/>
                <a:gd name="connsiteX9" fmla="*/ 16755 w 137728"/>
                <a:gd name="connsiteY9" fmla="*/ 18875 h 5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728" h="55815">
                  <a:moveTo>
                    <a:pt x="16755" y="18875"/>
                  </a:moveTo>
                  <a:cubicBezTo>
                    <a:pt x="28915" y="14940"/>
                    <a:pt x="41254" y="15030"/>
                    <a:pt x="53772" y="16639"/>
                  </a:cubicBezTo>
                  <a:cubicBezTo>
                    <a:pt x="62355" y="17712"/>
                    <a:pt x="68167" y="14940"/>
                    <a:pt x="66289" y="4658"/>
                  </a:cubicBezTo>
                  <a:cubicBezTo>
                    <a:pt x="94007" y="-10095"/>
                    <a:pt x="113499" y="14672"/>
                    <a:pt x="137729" y="17355"/>
                  </a:cubicBezTo>
                  <a:cubicBezTo>
                    <a:pt x="134868" y="29157"/>
                    <a:pt x="124407" y="25759"/>
                    <a:pt x="119310" y="30856"/>
                  </a:cubicBezTo>
                  <a:cubicBezTo>
                    <a:pt x="116181" y="36757"/>
                    <a:pt x="111710" y="40870"/>
                    <a:pt x="104558" y="40780"/>
                  </a:cubicBezTo>
                  <a:cubicBezTo>
                    <a:pt x="95258" y="42569"/>
                    <a:pt x="86228" y="45340"/>
                    <a:pt x="77645" y="49632"/>
                  </a:cubicBezTo>
                  <a:cubicBezTo>
                    <a:pt x="54040" y="58573"/>
                    <a:pt x="30524" y="57232"/>
                    <a:pt x="7099" y="49364"/>
                  </a:cubicBezTo>
                  <a:cubicBezTo>
                    <a:pt x="-8369" y="39350"/>
                    <a:pt x="5758" y="31571"/>
                    <a:pt x="9156" y="22898"/>
                  </a:cubicBezTo>
                  <a:cubicBezTo>
                    <a:pt x="11212" y="20573"/>
                    <a:pt x="13715" y="19232"/>
                    <a:pt x="16755" y="1887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6" name="Freeform: Shape 275">
              <a:extLst>
                <a:ext uri="{FF2B5EF4-FFF2-40B4-BE49-F238E27FC236}">
                  <a16:creationId xmlns:a16="http://schemas.microsoft.com/office/drawing/2014/main" id="{43D59585-3BE8-77BD-E2C9-7CE6F69FD30D}"/>
                </a:ext>
              </a:extLst>
            </p:cNvPr>
            <p:cNvSpPr/>
            <p:nvPr/>
          </p:nvSpPr>
          <p:spPr>
            <a:xfrm>
              <a:off x="7794342" y="3375924"/>
              <a:ext cx="401431" cy="260666"/>
            </a:xfrm>
            <a:custGeom>
              <a:avLst/>
              <a:gdLst>
                <a:gd name="connsiteX0" fmla="*/ 247048 w 275363"/>
                <a:gd name="connsiteY0" fmla="*/ 8487 h 178804"/>
                <a:gd name="connsiteX1" fmla="*/ 248210 w 275363"/>
                <a:gd name="connsiteY1" fmla="*/ 25743 h 178804"/>
                <a:gd name="connsiteX2" fmla="*/ 275034 w 275363"/>
                <a:gd name="connsiteY2" fmla="*/ 78228 h 178804"/>
                <a:gd name="connsiteX3" fmla="*/ 273692 w 275363"/>
                <a:gd name="connsiteY3" fmla="*/ 98435 h 178804"/>
                <a:gd name="connsiteX4" fmla="*/ 155937 w 275363"/>
                <a:gd name="connsiteY4" fmla="*/ 168533 h 178804"/>
                <a:gd name="connsiteX5" fmla="*/ 143241 w 275363"/>
                <a:gd name="connsiteY5" fmla="*/ 177027 h 178804"/>
                <a:gd name="connsiteX6" fmla="*/ 61698 w 275363"/>
                <a:gd name="connsiteY6" fmla="*/ 151098 h 178804"/>
                <a:gd name="connsiteX7" fmla="*/ 53025 w 275363"/>
                <a:gd name="connsiteY7" fmla="*/ 134736 h 178804"/>
                <a:gd name="connsiteX8" fmla="*/ 43368 w 275363"/>
                <a:gd name="connsiteY8" fmla="*/ 116585 h 178804"/>
                <a:gd name="connsiteX9" fmla="*/ 17081 w 275363"/>
                <a:gd name="connsiteY9" fmla="*/ 99061 h 178804"/>
                <a:gd name="connsiteX10" fmla="*/ 39077 w 275363"/>
                <a:gd name="connsiteY10" fmla="*/ 83414 h 178804"/>
                <a:gd name="connsiteX11" fmla="*/ 38808 w 275363"/>
                <a:gd name="connsiteY11" fmla="*/ 78228 h 178804"/>
                <a:gd name="connsiteX12" fmla="*/ 32460 w 275363"/>
                <a:gd name="connsiteY12" fmla="*/ 78228 h 178804"/>
                <a:gd name="connsiteX13" fmla="*/ 5816 w 275363"/>
                <a:gd name="connsiteY13" fmla="*/ 73221 h 178804"/>
                <a:gd name="connsiteX14" fmla="*/ 987 w 275363"/>
                <a:gd name="connsiteY14" fmla="*/ 59094 h 178804"/>
                <a:gd name="connsiteX15" fmla="*/ 5816 w 275363"/>
                <a:gd name="connsiteY15" fmla="*/ 58110 h 178804"/>
                <a:gd name="connsiteX16" fmla="*/ 26201 w 275363"/>
                <a:gd name="connsiteY16" fmla="*/ 28157 h 178804"/>
                <a:gd name="connsiteX17" fmla="*/ 50253 w 275363"/>
                <a:gd name="connsiteY17" fmla="*/ 49705 h 178804"/>
                <a:gd name="connsiteX18" fmla="*/ 49538 w 275363"/>
                <a:gd name="connsiteY18" fmla="*/ 16712 h 178804"/>
                <a:gd name="connsiteX19" fmla="*/ 76987 w 275363"/>
                <a:gd name="connsiteY19" fmla="*/ 27084 h 178804"/>
                <a:gd name="connsiteX20" fmla="*/ 76361 w 275363"/>
                <a:gd name="connsiteY20" fmla="*/ 26637 h 178804"/>
                <a:gd name="connsiteX21" fmla="*/ 93349 w 275363"/>
                <a:gd name="connsiteY21" fmla="*/ 61061 h 178804"/>
                <a:gd name="connsiteX22" fmla="*/ 123660 w 275363"/>
                <a:gd name="connsiteY22" fmla="*/ 32181 h 178804"/>
                <a:gd name="connsiteX23" fmla="*/ 123660 w 275363"/>
                <a:gd name="connsiteY23" fmla="*/ 32181 h 178804"/>
                <a:gd name="connsiteX24" fmla="*/ 182761 w 275363"/>
                <a:gd name="connsiteY24" fmla="*/ 12868 h 178804"/>
                <a:gd name="connsiteX25" fmla="*/ 246959 w 275363"/>
                <a:gd name="connsiteY25" fmla="*/ 8218 h 178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5363" h="178804">
                  <a:moveTo>
                    <a:pt x="247048" y="8487"/>
                  </a:moveTo>
                  <a:cubicBezTo>
                    <a:pt x="247405" y="14209"/>
                    <a:pt x="247853" y="20021"/>
                    <a:pt x="248210" y="25743"/>
                  </a:cubicBezTo>
                  <a:cubicBezTo>
                    <a:pt x="260281" y="41658"/>
                    <a:pt x="272172" y="57574"/>
                    <a:pt x="275034" y="78228"/>
                  </a:cubicBezTo>
                  <a:cubicBezTo>
                    <a:pt x="275749" y="85023"/>
                    <a:pt x="275302" y="91818"/>
                    <a:pt x="273692" y="98435"/>
                  </a:cubicBezTo>
                  <a:cubicBezTo>
                    <a:pt x="253217" y="153244"/>
                    <a:pt x="207349" y="165672"/>
                    <a:pt x="155937" y="168533"/>
                  </a:cubicBezTo>
                  <a:cubicBezTo>
                    <a:pt x="151735" y="171394"/>
                    <a:pt x="147533" y="174256"/>
                    <a:pt x="143241" y="177027"/>
                  </a:cubicBezTo>
                  <a:cubicBezTo>
                    <a:pt x="110874" y="184717"/>
                    <a:pt x="86912" y="165851"/>
                    <a:pt x="61698" y="151098"/>
                  </a:cubicBezTo>
                  <a:cubicBezTo>
                    <a:pt x="57942" y="146091"/>
                    <a:pt x="55260" y="140547"/>
                    <a:pt x="53025" y="134736"/>
                  </a:cubicBezTo>
                  <a:cubicBezTo>
                    <a:pt x="50611" y="128298"/>
                    <a:pt x="48643" y="121503"/>
                    <a:pt x="43368" y="116585"/>
                  </a:cubicBezTo>
                  <a:cubicBezTo>
                    <a:pt x="35858" y="108896"/>
                    <a:pt x="20121" y="113456"/>
                    <a:pt x="17081" y="99061"/>
                  </a:cubicBezTo>
                  <a:cubicBezTo>
                    <a:pt x="20300" y="88063"/>
                    <a:pt x="30314" y="86811"/>
                    <a:pt x="39077" y="83414"/>
                  </a:cubicBezTo>
                  <a:cubicBezTo>
                    <a:pt x="42474" y="82072"/>
                    <a:pt x="43368" y="79569"/>
                    <a:pt x="38808" y="78228"/>
                  </a:cubicBezTo>
                  <a:cubicBezTo>
                    <a:pt x="36841" y="77602"/>
                    <a:pt x="34606" y="77959"/>
                    <a:pt x="32460" y="78228"/>
                  </a:cubicBezTo>
                  <a:cubicBezTo>
                    <a:pt x="22982" y="79301"/>
                    <a:pt x="13773" y="79390"/>
                    <a:pt x="5816" y="73221"/>
                  </a:cubicBezTo>
                  <a:cubicBezTo>
                    <a:pt x="-1338" y="70449"/>
                    <a:pt x="-443" y="64816"/>
                    <a:pt x="987" y="59094"/>
                  </a:cubicBezTo>
                  <a:cubicBezTo>
                    <a:pt x="2776" y="59809"/>
                    <a:pt x="4474" y="59451"/>
                    <a:pt x="5816" y="58110"/>
                  </a:cubicBezTo>
                  <a:cubicBezTo>
                    <a:pt x="13147" y="48454"/>
                    <a:pt x="8945" y="30839"/>
                    <a:pt x="26201" y="28157"/>
                  </a:cubicBezTo>
                  <a:cubicBezTo>
                    <a:pt x="40150" y="26011"/>
                    <a:pt x="44262" y="37188"/>
                    <a:pt x="50253" y="49705"/>
                  </a:cubicBezTo>
                  <a:cubicBezTo>
                    <a:pt x="46229" y="36383"/>
                    <a:pt x="36394" y="25117"/>
                    <a:pt x="49538" y="16712"/>
                  </a:cubicBezTo>
                  <a:cubicBezTo>
                    <a:pt x="61072" y="9381"/>
                    <a:pt x="69387" y="19305"/>
                    <a:pt x="76987" y="27084"/>
                  </a:cubicBezTo>
                  <a:lnTo>
                    <a:pt x="76361" y="26637"/>
                  </a:lnTo>
                  <a:cubicBezTo>
                    <a:pt x="92813" y="31734"/>
                    <a:pt x="86465" y="47917"/>
                    <a:pt x="93349" y="61061"/>
                  </a:cubicBezTo>
                  <a:cubicBezTo>
                    <a:pt x="101128" y="47917"/>
                    <a:pt x="109801" y="36919"/>
                    <a:pt x="123660" y="32181"/>
                  </a:cubicBezTo>
                  <a:lnTo>
                    <a:pt x="123660" y="32181"/>
                  </a:lnTo>
                  <a:cubicBezTo>
                    <a:pt x="146549" y="34952"/>
                    <a:pt x="163537" y="24044"/>
                    <a:pt x="182761" y="12868"/>
                  </a:cubicBezTo>
                  <a:cubicBezTo>
                    <a:pt x="200733" y="2496"/>
                    <a:pt x="224427" y="-7607"/>
                    <a:pt x="246959" y="821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7" name="Freeform: Shape 276">
              <a:extLst>
                <a:ext uri="{FF2B5EF4-FFF2-40B4-BE49-F238E27FC236}">
                  <a16:creationId xmlns:a16="http://schemas.microsoft.com/office/drawing/2014/main" id="{31B75169-C59E-9DCD-0C6C-01FB0E01FD4A}"/>
                </a:ext>
              </a:extLst>
            </p:cNvPr>
            <p:cNvSpPr/>
            <p:nvPr/>
          </p:nvSpPr>
          <p:spPr>
            <a:xfrm>
              <a:off x="8983718" y="4971118"/>
              <a:ext cx="58357" cy="121481"/>
            </a:xfrm>
            <a:custGeom>
              <a:avLst/>
              <a:gdLst>
                <a:gd name="connsiteX0" fmla="*/ 1012 w 40030"/>
                <a:gd name="connsiteY0" fmla="*/ 49069 h 83330"/>
                <a:gd name="connsiteX1" fmla="*/ 15586 w 40030"/>
                <a:gd name="connsiteY1" fmla="*/ 2843 h 83330"/>
                <a:gd name="connsiteX2" fmla="*/ 32038 w 40030"/>
                <a:gd name="connsiteY2" fmla="*/ 4811 h 83330"/>
                <a:gd name="connsiteX3" fmla="*/ 34094 w 40030"/>
                <a:gd name="connsiteY3" fmla="*/ 68472 h 83330"/>
                <a:gd name="connsiteX4" fmla="*/ 7092 w 40030"/>
                <a:gd name="connsiteY4" fmla="*/ 82151 h 83330"/>
                <a:gd name="connsiteX5" fmla="*/ 1101 w 40030"/>
                <a:gd name="connsiteY5" fmla="*/ 49159 h 8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30" h="83330">
                  <a:moveTo>
                    <a:pt x="1012" y="49069"/>
                  </a:moveTo>
                  <a:cubicBezTo>
                    <a:pt x="2174" y="31276"/>
                    <a:pt x="-7393" y="12232"/>
                    <a:pt x="15586" y="2843"/>
                  </a:cubicBezTo>
                  <a:cubicBezTo>
                    <a:pt x="22381" y="72"/>
                    <a:pt x="29266" y="-2611"/>
                    <a:pt x="32038" y="4811"/>
                  </a:cubicBezTo>
                  <a:cubicBezTo>
                    <a:pt x="39727" y="25643"/>
                    <a:pt x="44377" y="48086"/>
                    <a:pt x="34094" y="68472"/>
                  </a:cubicBezTo>
                  <a:cubicBezTo>
                    <a:pt x="30339" y="75893"/>
                    <a:pt x="16838" y="86980"/>
                    <a:pt x="7092" y="82151"/>
                  </a:cubicBezTo>
                  <a:cubicBezTo>
                    <a:pt x="-6678" y="75267"/>
                    <a:pt x="4588" y="58994"/>
                    <a:pt x="1101" y="4915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8" name="Freeform: Shape 277">
              <a:extLst>
                <a:ext uri="{FF2B5EF4-FFF2-40B4-BE49-F238E27FC236}">
                  <a16:creationId xmlns:a16="http://schemas.microsoft.com/office/drawing/2014/main" id="{BF00A76E-30C4-1899-BD71-97EC726D48D1}"/>
                </a:ext>
              </a:extLst>
            </p:cNvPr>
            <p:cNvSpPr/>
            <p:nvPr/>
          </p:nvSpPr>
          <p:spPr>
            <a:xfrm>
              <a:off x="9130918" y="5116820"/>
              <a:ext cx="110271" cy="70778"/>
            </a:xfrm>
            <a:custGeom>
              <a:avLst/>
              <a:gdLst>
                <a:gd name="connsiteX0" fmla="*/ 75642 w 75641"/>
                <a:gd name="connsiteY0" fmla="*/ 89 h 48550"/>
                <a:gd name="connsiteX1" fmla="*/ 75642 w 75641"/>
                <a:gd name="connsiteY1" fmla="*/ 48550 h 48550"/>
                <a:gd name="connsiteX2" fmla="*/ 0 w 75641"/>
                <a:gd name="connsiteY2" fmla="*/ 21190 h 48550"/>
                <a:gd name="connsiteX3" fmla="*/ 33976 w 75641"/>
                <a:gd name="connsiteY3" fmla="*/ 4471 h 48550"/>
                <a:gd name="connsiteX4" fmla="*/ 75552 w 75641"/>
                <a:gd name="connsiteY4" fmla="*/ 0 h 48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41" h="48550">
                  <a:moveTo>
                    <a:pt x="75642" y="89"/>
                  </a:moveTo>
                  <a:lnTo>
                    <a:pt x="75642" y="48550"/>
                  </a:lnTo>
                  <a:cubicBezTo>
                    <a:pt x="47656" y="45332"/>
                    <a:pt x="27896" y="23694"/>
                    <a:pt x="0" y="21190"/>
                  </a:cubicBezTo>
                  <a:cubicBezTo>
                    <a:pt x="7868" y="4471"/>
                    <a:pt x="22084" y="6438"/>
                    <a:pt x="33976" y="4471"/>
                  </a:cubicBezTo>
                  <a:cubicBezTo>
                    <a:pt x="46673" y="2325"/>
                    <a:pt x="59637" y="1699"/>
                    <a:pt x="7555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9" name="Freeform: Shape 278">
              <a:extLst>
                <a:ext uri="{FF2B5EF4-FFF2-40B4-BE49-F238E27FC236}">
                  <a16:creationId xmlns:a16="http://schemas.microsoft.com/office/drawing/2014/main" id="{AD41DF65-A0C1-35B1-ACB0-D151AEE41A90}"/>
                </a:ext>
              </a:extLst>
            </p:cNvPr>
            <p:cNvSpPr/>
            <p:nvPr/>
          </p:nvSpPr>
          <p:spPr>
            <a:xfrm>
              <a:off x="8993479" y="4875288"/>
              <a:ext cx="32218" cy="68457"/>
            </a:xfrm>
            <a:custGeom>
              <a:avLst/>
              <a:gdLst>
                <a:gd name="connsiteX0" fmla="*/ 10231 w 22100"/>
                <a:gd name="connsiteY0" fmla="*/ 0 h 46958"/>
                <a:gd name="connsiteX1" fmla="*/ 16310 w 22100"/>
                <a:gd name="connsiteY1" fmla="*/ 43275 h 46958"/>
                <a:gd name="connsiteX2" fmla="*/ 5670 w 22100"/>
                <a:gd name="connsiteY2" fmla="*/ 44169 h 46958"/>
                <a:gd name="connsiteX3" fmla="*/ 10231 w 22100"/>
                <a:gd name="connsiteY3" fmla="*/ 0 h 46958"/>
              </a:gdLst>
              <a:ahLst/>
              <a:cxnLst>
                <a:cxn ang="0">
                  <a:pos x="connsiteX0" y="connsiteY0"/>
                </a:cxn>
                <a:cxn ang="0">
                  <a:pos x="connsiteX1" y="connsiteY1"/>
                </a:cxn>
                <a:cxn ang="0">
                  <a:pos x="connsiteX2" y="connsiteY2"/>
                </a:cxn>
                <a:cxn ang="0">
                  <a:pos x="connsiteX3" y="connsiteY3"/>
                </a:cxn>
              </a:cxnLst>
              <a:rect l="l" t="t" r="r" b="b"/>
              <a:pathLst>
                <a:path w="22100" h="46958">
                  <a:moveTo>
                    <a:pt x="10231" y="0"/>
                  </a:moveTo>
                  <a:cubicBezTo>
                    <a:pt x="27219" y="15110"/>
                    <a:pt x="22837" y="29327"/>
                    <a:pt x="16310" y="43275"/>
                  </a:cubicBezTo>
                  <a:cubicBezTo>
                    <a:pt x="14165" y="47835"/>
                    <a:pt x="8889" y="48193"/>
                    <a:pt x="5670" y="44169"/>
                  </a:cubicBezTo>
                  <a:cubicBezTo>
                    <a:pt x="-7562" y="27628"/>
                    <a:pt x="5939" y="15647"/>
                    <a:pt x="1023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0" name="Freeform: Shape 279">
              <a:extLst>
                <a:ext uri="{FF2B5EF4-FFF2-40B4-BE49-F238E27FC236}">
                  <a16:creationId xmlns:a16="http://schemas.microsoft.com/office/drawing/2014/main" id="{064C5E18-B3AB-8C76-F75B-E2372BBE7D74}"/>
                </a:ext>
              </a:extLst>
            </p:cNvPr>
            <p:cNvSpPr/>
            <p:nvPr/>
          </p:nvSpPr>
          <p:spPr>
            <a:xfrm>
              <a:off x="3536459" y="4220016"/>
              <a:ext cx="23528" cy="28800"/>
            </a:xfrm>
            <a:custGeom>
              <a:avLst/>
              <a:gdLst>
                <a:gd name="connsiteX0" fmla="*/ 16089 w 16139"/>
                <a:gd name="connsiteY0" fmla="*/ 13425 h 19755"/>
                <a:gd name="connsiteX1" fmla="*/ 6791 w 16139"/>
                <a:gd name="connsiteY1" fmla="*/ 19237 h 19755"/>
                <a:gd name="connsiteX2" fmla="*/ 353 w 16139"/>
                <a:gd name="connsiteY2" fmla="*/ 6630 h 19755"/>
                <a:gd name="connsiteX3" fmla="*/ 8132 w 16139"/>
                <a:gd name="connsiteY3" fmla="*/ 1086 h 19755"/>
                <a:gd name="connsiteX4" fmla="*/ 16089 w 16139"/>
                <a:gd name="connsiteY4" fmla="*/ 13425 h 1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9" h="19755">
                  <a:moveTo>
                    <a:pt x="16089" y="13425"/>
                  </a:moveTo>
                  <a:cubicBezTo>
                    <a:pt x="14838" y="18968"/>
                    <a:pt x="11619" y="20757"/>
                    <a:pt x="6791" y="19237"/>
                  </a:cubicBezTo>
                  <a:cubicBezTo>
                    <a:pt x="442" y="17270"/>
                    <a:pt x="-720" y="12352"/>
                    <a:pt x="353" y="6630"/>
                  </a:cubicBezTo>
                  <a:cubicBezTo>
                    <a:pt x="1158" y="2427"/>
                    <a:pt x="2409" y="-2133"/>
                    <a:pt x="8132" y="1086"/>
                  </a:cubicBezTo>
                  <a:cubicBezTo>
                    <a:pt x="12781" y="3768"/>
                    <a:pt x="16626" y="7613"/>
                    <a:pt x="16089" y="134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1" name="Freeform: Shape 280">
              <a:extLst>
                <a:ext uri="{FF2B5EF4-FFF2-40B4-BE49-F238E27FC236}">
                  <a16:creationId xmlns:a16="http://schemas.microsoft.com/office/drawing/2014/main" id="{EC7C658A-808A-785B-7DD2-03961E6D8A34}"/>
                </a:ext>
              </a:extLst>
            </p:cNvPr>
            <p:cNvSpPr/>
            <p:nvPr/>
          </p:nvSpPr>
          <p:spPr>
            <a:xfrm>
              <a:off x="15176004" y="6901296"/>
              <a:ext cx="139392" cy="80837"/>
            </a:xfrm>
            <a:custGeom>
              <a:avLst/>
              <a:gdLst>
                <a:gd name="connsiteX0" fmla="*/ 19224 w 95616"/>
                <a:gd name="connsiteY0" fmla="*/ 35383 h 55450"/>
                <a:gd name="connsiteX1" fmla="*/ 66254 w 95616"/>
                <a:gd name="connsiteY1" fmla="*/ 3642 h 55450"/>
                <a:gd name="connsiteX2" fmla="*/ 88965 w 95616"/>
                <a:gd name="connsiteY2" fmla="*/ 5430 h 55450"/>
                <a:gd name="connsiteX3" fmla="*/ 90753 w 95616"/>
                <a:gd name="connsiteY3" fmla="*/ 26531 h 55450"/>
                <a:gd name="connsiteX4" fmla="*/ 0 w 95616"/>
                <a:gd name="connsiteY4" fmla="*/ 54160 h 55450"/>
                <a:gd name="connsiteX5" fmla="*/ 19403 w 95616"/>
                <a:gd name="connsiteY5" fmla="*/ 35204 h 55450"/>
                <a:gd name="connsiteX6" fmla="*/ 19134 w 95616"/>
                <a:gd name="connsiteY6" fmla="*/ 35383 h 5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616" h="55450">
                  <a:moveTo>
                    <a:pt x="19224" y="35383"/>
                  </a:moveTo>
                  <a:cubicBezTo>
                    <a:pt x="36748" y="28051"/>
                    <a:pt x="65181" y="38065"/>
                    <a:pt x="66254" y="3642"/>
                  </a:cubicBezTo>
                  <a:cubicBezTo>
                    <a:pt x="66433" y="-2080"/>
                    <a:pt x="81991" y="-739"/>
                    <a:pt x="88965" y="5430"/>
                  </a:cubicBezTo>
                  <a:cubicBezTo>
                    <a:pt x="95671" y="11242"/>
                    <a:pt x="98979" y="15981"/>
                    <a:pt x="90753" y="26531"/>
                  </a:cubicBezTo>
                  <a:cubicBezTo>
                    <a:pt x="66523" y="57825"/>
                    <a:pt x="34692" y="57020"/>
                    <a:pt x="0" y="54160"/>
                  </a:cubicBezTo>
                  <a:cubicBezTo>
                    <a:pt x="268" y="39854"/>
                    <a:pt x="14932" y="42894"/>
                    <a:pt x="19403" y="35204"/>
                  </a:cubicBezTo>
                  <a:lnTo>
                    <a:pt x="19134" y="35383"/>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2" name="Freeform: Shape 281">
              <a:extLst>
                <a:ext uri="{FF2B5EF4-FFF2-40B4-BE49-F238E27FC236}">
                  <a16:creationId xmlns:a16="http://schemas.microsoft.com/office/drawing/2014/main" id="{DE938A8C-A321-2E24-4ACA-8488976DF83F}"/>
                </a:ext>
              </a:extLst>
            </p:cNvPr>
            <p:cNvSpPr/>
            <p:nvPr/>
          </p:nvSpPr>
          <p:spPr>
            <a:xfrm>
              <a:off x="15413499" y="6937389"/>
              <a:ext cx="66200" cy="61934"/>
            </a:xfrm>
            <a:custGeom>
              <a:avLst/>
              <a:gdLst>
                <a:gd name="connsiteX0" fmla="*/ 9758 w 45410"/>
                <a:gd name="connsiteY0" fmla="*/ 6 h 42483"/>
                <a:gd name="connsiteX1" fmla="*/ 44807 w 45410"/>
                <a:gd name="connsiteY1" fmla="*/ 31479 h 42483"/>
                <a:gd name="connsiteX2" fmla="*/ 37207 w 45410"/>
                <a:gd name="connsiteY2" fmla="*/ 42477 h 42483"/>
                <a:gd name="connsiteX3" fmla="*/ 12 w 45410"/>
                <a:gd name="connsiteY3" fmla="*/ 7964 h 42483"/>
                <a:gd name="connsiteX4" fmla="*/ 9758 w 45410"/>
                <a:gd name="connsiteY4" fmla="*/ 6 h 42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10" h="42483">
                  <a:moveTo>
                    <a:pt x="9758" y="6"/>
                  </a:moveTo>
                  <a:cubicBezTo>
                    <a:pt x="20040" y="10646"/>
                    <a:pt x="38728" y="14044"/>
                    <a:pt x="44807" y="31479"/>
                  </a:cubicBezTo>
                  <a:cubicBezTo>
                    <a:pt x="46685" y="36933"/>
                    <a:pt x="44182" y="41761"/>
                    <a:pt x="37207" y="42477"/>
                  </a:cubicBezTo>
                  <a:cubicBezTo>
                    <a:pt x="31306" y="43013"/>
                    <a:pt x="-703" y="13597"/>
                    <a:pt x="12" y="7964"/>
                  </a:cubicBezTo>
                  <a:cubicBezTo>
                    <a:pt x="549" y="3583"/>
                    <a:pt x="2337" y="-173"/>
                    <a:pt x="9758" y="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3" name="Freeform: Shape 282">
              <a:extLst>
                <a:ext uri="{FF2B5EF4-FFF2-40B4-BE49-F238E27FC236}">
                  <a16:creationId xmlns:a16="http://schemas.microsoft.com/office/drawing/2014/main" id="{2C7C00A3-5ABA-2987-BF60-343EF85035D3}"/>
                </a:ext>
              </a:extLst>
            </p:cNvPr>
            <p:cNvSpPr/>
            <p:nvPr/>
          </p:nvSpPr>
          <p:spPr>
            <a:xfrm>
              <a:off x="15325470" y="6896933"/>
              <a:ext cx="21876" cy="22883"/>
            </a:xfrm>
            <a:custGeom>
              <a:avLst/>
              <a:gdLst>
                <a:gd name="connsiteX0" fmla="*/ 15006 w 15006"/>
                <a:gd name="connsiteY0" fmla="*/ 11578 h 15696"/>
                <a:gd name="connsiteX1" fmla="*/ 5975 w 15006"/>
                <a:gd name="connsiteY1" fmla="*/ 15601 h 15696"/>
                <a:gd name="connsiteX2" fmla="*/ 253 w 15006"/>
                <a:gd name="connsiteY2" fmla="*/ 5945 h 15696"/>
                <a:gd name="connsiteX3" fmla="*/ 6959 w 15006"/>
                <a:gd name="connsiteY3" fmla="*/ 1385 h 15696"/>
                <a:gd name="connsiteX4" fmla="*/ 14917 w 15006"/>
                <a:gd name="connsiteY4" fmla="*/ 11578 h 15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06" h="15696">
                  <a:moveTo>
                    <a:pt x="15006" y="11578"/>
                  </a:moveTo>
                  <a:cubicBezTo>
                    <a:pt x="10625" y="13634"/>
                    <a:pt x="6601" y="16227"/>
                    <a:pt x="5975" y="15601"/>
                  </a:cubicBezTo>
                  <a:cubicBezTo>
                    <a:pt x="3472" y="12919"/>
                    <a:pt x="1057" y="9521"/>
                    <a:pt x="253" y="5945"/>
                  </a:cubicBezTo>
                  <a:cubicBezTo>
                    <a:pt x="-999" y="312"/>
                    <a:pt x="2578" y="-1566"/>
                    <a:pt x="6959" y="1385"/>
                  </a:cubicBezTo>
                  <a:cubicBezTo>
                    <a:pt x="9999" y="3352"/>
                    <a:pt x="11698" y="7286"/>
                    <a:pt x="14917" y="1157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grpSp>
      <p:grpSp>
        <p:nvGrpSpPr>
          <p:cNvPr id="3" name="Group 2">
            <a:extLst>
              <a:ext uri="{FF2B5EF4-FFF2-40B4-BE49-F238E27FC236}">
                <a16:creationId xmlns:a16="http://schemas.microsoft.com/office/drawing/2014/main" id="{C0BFE5F3-9917-B4BE-6680-DA13F7C2A497}"/>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534EE9A7-3C7F-DBC8-282E-ADA6C191CA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8C520970-D07E-9D55-B6DC-FE1144404D3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95812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9" name="Picture 18" hidden="1">
            <a:extLst>
              <a:ext uri="{FF2B5EF4-FFF2-40B4-BE49-F238E27FC236}">
                <a16:creationId xmlns:a16="http://schemas.microsoft.com/office/drawing/2014/main" id="{8465FA00-B550-B893-E18C-F6A577D61CDA}"/>
              </a:ext>
            </a:extLst>
          </p:cNvPr>
          <p:cNvPicPr>
            <a:picLocks noChangeAspect="1"/>
          </p:cNvPicPr>
          <p:nvPr userDrawn="1"/>
        </p:nvPicPr>
        <p:blipFill>
          <a:blip r:embed="rId3"/>
          <a:stretch>
            <a:fillRect/>
          </a:stretch>
        </p:blipFill>
        <p:spPr>
          <a:xfrm>
            <a:off x="6009741" y="0"/>
            <a:ext cx="6182259" cy="6858000"/>
          </a:xfrm>
          <a:prstGeom prst="rect">
            <a:avLst/>
          </a:prstGeom>
          <a:effectLst>
            <a:outerShdw blurRad="1270000" dist="596900" dir="10800000" algn="r" rotWithShape="0">
              <a:srgbClr val="665895">
                <a:alpha val="25000"/>
              </a:srgbClr>
            </a:outerShdw>
          </a:effectLst>
        </p:spPr>
      </p:pic>
      <p:grpSp>
        <p:nvGrpSpPr>
          <p:cNvPr id="2" name="Group 1">
            <a:extLst>
              <a:ext uri="{FF2B5EF4-FFF2-40B4-BE49-F238E27FC236}">
                <a16:creationId xmlns:a16="http://schemas.microsoft.com/office/drawing/2014/main" id="{BBF7DC75-A079-03F0-3239-7C682AB358CF}"/>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39D429D4-0F55-5054-83BA-1CD241D5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94240" y="9463695"/>
              <a:ext cx="929120" cy="371022"/>
            </a:xfrm>
            <a:prstGeom prst="rect">
              <a:avLst/>
            </a:prstGeom>
          </p:spPr>
        </p:pic>
        <p:pic>
          <p:nvPicPr>
            <p:cNvPr id="4" name="MS logo gray - EMF" descr="Microsoft logo, gray text version">
              <a:extLst>
                <a:ext uri="{FF2B5EF4-FFF2-40B4-BE49-F238E27FC236}">
                  <a16:creationId xmlns:a16="http://schemas.microsoft.com/office/drawing/2014/main" id="{F1D61FA6-D4B8-5BFC-B18D-6079DA6C82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384726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tandard Cop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1233488"/>
            <a:ext cx="11425691" cy="504666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5865E63C-3BDB-0BEF-99DC-F19FE3A1CB49}"/>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428B44E5-6764-75F0-648C-3D208B6074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E8D652B-A647-4237-D6C4-8E60271B360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646133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tandard Copy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2" y="1233492"/>
            <a:ext cx="5668182" cy="430887"/>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1817688"/>
            <a:ext cx="5668182"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1233492"/>
            <a:ext cx="5668182" cy="430887"/>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1817688"/>
            <a:ext cx="5668182"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DE7D11E6-EFEC-45EF-66AB-37C41482F54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DA7425F1-BAB5-4783-1508-61EE0464EA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7EA06108-4E7C-578A-FDC1-391E7AA941C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35307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tandard Copy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4"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4"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4226981"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4226981"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DBCFB725-05B9-36A7-9798-773857FF59A7}"/>
              </a:ext>
            </a:extLst>
          </p:cNvPr>
          <p:cNvSpPr>
            <a:spLocks noGrp="1"/>
          </p:cNvSpPr>
          <p:nvPr>
            <p:ph type="body" sz="quarter" idx="19"/>
          </p:nvPr>
        </p:nvSpPr>
        <p:spPr>
          <a:xfrm>
            <a:off x="8071589"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0A4E5B53-19EB-B282-E92F-22598875C918}"/>
              </a:ext>
            </a:extLst>
          </p:cNvPr>
          <p:cNvSpPr>
            <a:spLocks noGrp="1"/>
          </p:cNvSpPr>
          <p:nvPr>
            <p:ph type="body" sz="quarter" idx="20"/>
          </p:nvPr>
        </p:nvSpPr>
        <p:spPr>
          <a:xfrm>
            <a:off x="8071589"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AAF90978-0947-6978-A2C2-426604B439EA}"/>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AA77BFB-386C-66FB-D657-36250BDFE6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7F1F9062-52D1-B0F4-9FD8-F1B17D845F7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319912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tandard Copy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5"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5"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3261130"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3261130"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DBCFB725-05B9-36A7-9798-773857FF59A7}"/>
              </a:ext>
            </a:extLst>
          </p:cNvPr>
          <p:cNvSpPr>
            <a:spLocks noGrp="1"/>
          </p:cNvSpPr>
          <p:nvPr>
            <p:ph type="body" sz="quarter" idx="19"/>
          </p:nvPr>
        </p:nvSpPr>
        <p:spPr>
          <a:xfrm>
            <a:off x="6139884"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0A4E5B53-19EB-B282-E92F-22598875C918}"/>
              </a:ext>
            </a:extLst>
          </p:cNvPr>
          <p:cNvSpPr>
            <a:spLocks noGrp="1"/>
          </p:cNvSpPr>
          <p:nvPr>
            <p:ph type="body" sz="quarter" idx="20"/>
          </p:nvPr>
        </p:nvSpPr>
        <p:spPr>
          <a:xfrm>
            <a:off x="6139884"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1" name="Text Placeholder 3">
            <a:extLst>
              <a:ext uri="{FF2B5EF4-FFF2-40B4-BE49-F238E27FC236}">
                <a16:creationId xmlns:a16="http://schemas.microsoft.com/office/drawing/2014/main" id="{A0998A4A-FC2A-28AB-261D-51C0ECB95B9D}"/>
              </a:ext>
            </a:extLst>
          </p:cNvPr>
          <p:cNvSpPr>
            <a:spLocks noGrp="1"/>
          </p:cNvSpPr>
          <p:nvPr>
            <p:ph type="body" sz="quarter" idx="21"/>
          </p:nvPr>
        </p:nvSpPr>
        <p:spPr>
          <a:xfrm>
            <a:off x="9018637"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493BD5E0-EED2-2971-3224-C64B7A8E9F14}"/>
              </a:ext>
            </a:extLst>
          </p:cNvPr>
          <p:cNvSpPr>
            <a:spLocks noGrp="1"/>
          </p:cNvSpPr>
          <p:nvPr>
            <p:ph type="body" sz="quarter" idx="22"/>
          </p:nvPr>
        </p:nvSpPr>
        <p:spPr>
          <a:xfrm>
            <a:off x="9018637"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D9869ADD-7DC6-AB6A-7169-15221B5C858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462FC76B-AAEA-29C6-88FC-9C36BC6C41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053A840A-CDF4-FDA0-FC02-74E586DAB6A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33451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96E84A7-F471-6F8C-00AA-3C038AF8E96C}"/>
              </a:ext>
            </a:extLst>
          </p:cNvPr>
          <p:cNvSpPr/>
          <p:nvPr userDrawn="1"/>
        </p:nvSpPr>
        <p:spPr bwMode="auto">
          <a:xfrm>
            <a:off x="407459" y="381000"/>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AD89AEF8-6D34-6167-823F-122C1FE53A59}"/>
              </a:ext>
            </a:extLst>
          </p:cNvPr>
          <p:cNvSpPr/>
          <p:nvPr userDrawn="1"/>
        </p:nvSpPr>
        <p:spPr bwMode="auto">
          <a:xfrm>
            <a:off x="10386485" y="4865159"/>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47" name="[T2O] TextBox 19">
            <a:extLst>
              <a:ext uri="{FF2B5EF4-FFF2-40B4-BE49-F238E27FC236}">
                <a16:creationId xmlns:a16="http://schemas.microsoft.com/office/drawing/2014/main" id="{0633A0DA-37A1-3917-A0D5-EDA98901290F}"/>
              </a:ext>
            </a:extLst>
          </p:cNvPr>
          <p:cNvSpPr/>
          <p:nvPr userDrawn="1"/>
        </p:nvSpPr>
        <p:spPr bwMode="auto">
          <a:xfrm>
            <a:off x="837289" y="848395"/>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48" name="[T2O] TextBox 19">
            <a:extLst>
              <a:ext uri="{FF2B5EF4-FFF2-40B4-BE49-F238E27FC236}">
                <a16:creationId xmlns:a16="http://schemas.microsoft.com/office/drawing/2014/main" id="{261D5CF0-D071-EEF9-F5D0-B5B9D36618E9}"/>
              </a:ext>
            </a:extLst>
          </p:cNvPr>
          <p:cNvSpPr/>
          <p:nvPr userDrawn="1"/>
        </p:nvSpPr>
        <p:spPr bwMode="auto">
          <a:xfrm rot="10800000">
            <a:off x="10816315" y="5332553"/>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useBgFill="1">
        <p:nvSpPr>
          <p:cNvPr id="52" name="Rectangle 51">
            <a:extLst>
              <a:ext uri="{FF2B5EF4-FFF2-40B4-BE49-F238E27FC236}">
                <a16:creationId xmlns:a16="http://schemas.microsoft.com/office/drawing/2014/main" id="{46648F5E-BDDC-E342-6415-DD4A0E1D4AC3}"/>
              </a:ext>
            </a:extLst>
          </p:cNvPr>
          <p:cNvSpPr/>
          <p:nvPr userDrawn="1"/>
        </p:nvSpPr>
        <p:spPr bwMode="auto">
          <a:xfrm>
            <a:off x="1246907" y="2677160"/>
            <a:ext cx="9698186" cy="15036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useBgFill="1">
        <p:nvSpPr>
          <p:cNvPr id="55" name="Rectangle 54">
            <a:extLst>
              <a:ext uri="{FF2B5EF4-FFF2-40B4-BE49-F238E27FC236}">
                <a16:creationId xmlns:a16="http://schemas.microsoft.com/office/drawing/2014/main" id="{7D98D782-84AC-4191-240B-C71C7D75078D}"/>
              </a:ext>
            </a:extLst>
          </p:cNvPr>
          <p:cNvSpPr/>
          <p:nvPr userDrawn="1"/>
        </p:nvSpPr>
        <p:spPr bwMode="auto">
          <a:xfrm>
            <a:off x="1246907" y="2677160"/>
            <a:ext cx="9698186" cy="1503680"/>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56" name="Title 55">
            <a:extLst>
              <a:ext uri="{FF2B5EF4-FFF2-40B4-BE49-F238E27FC236}">
                <a16:creationId xmlns:a16="http://schemas.microsoft.com/office/drawing/2014/main" id="{F6BAA477-ADB3-9C60-204B-6CD1625E99C6}"/>
              </a:ext>
            </a:extLst>
          </p:cNvPr>
          <p:cNvSpPr>
            <a:spLocks noGrp="1"/>
          </p:cNvSpPr>
          <p:nvPr>
            <p:ph type="title"/>
          </p:nvPr>
        </p:nvSpPr>
        <p:spPr>
          <a:xfrm>
            <a:off x="1503681" y="2943400"/>
            <a:ext cx="9184639" cy="971201"/>
          </a:xfrm>
        </p:spPr>
        <p:txBody>
          <a:bodyPr anchor="ctr">
            <a:normAutofit/>
          </a:bodyPr>
          <a:lstStyle>
            <a:lvl1pPr algn="ctr">
              <a:defRPr/>
            </a:lvl1pPr>
          </a:lstStyle>
          <a:p>
            <a:r>
              <a:rPr lang="en-US"/>
              <a:t>Click to edit Master title style</a:t>
            </a:r>
            <a:endParaRPr lang="en-GB"/>
          </a:p>
        </p:txBody>
      </p:sp>
      <p:grpSp>
        <p:nvGrpSpPr>
          <p:cNvPr id="2" name="Group 1">
            <a:extLst>
              <a:ext uri="{FF2B5EF4-FFF2-40B4-BE49-F238E27FC236}">
                <a16:creationId xmlns:a16="http://schemas.microsoft.com/office/drawing/2014/main" id="{0C560AB8-5750-8DD9-CCE9-CC6D8ED88C3C}"/>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987C9073-4889-55E7-3060-8652FBCAD5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4" name="MS logo gray - EMF" descr="Microsoft logo, gray text version">
              <a:extLst>
                <a:ext uri="{FF2B5EF4-FFF2-40B4-BE49-F238E27FC236}">
                  <a16:creationId xmlns:a16="http://schemas.microsoft.com/office/drawing/2014/main" id="{42CEABF6-5A07-667A-9F56-87A20E9D933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213497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9C71A4-8969-751E-4FE0-9852E2D05A9E}"/>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8FD11975-E5A2-F698-AFE5-902BE52A0A3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2B11F9C8-366D-63E5-5F20-06FB3C873410}"/>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6F588EAB-AF99-4A76-E482-4A5939A6DEA9}"/>
              </a:ext>
            </a:extLst>
          </p:cNvPr>
          <p:cNvSpPr>
            <a:spLocks noGrp="1"/>
          </p:cNvSpPr>
          <p:nvPr>
            <p:ph type="dt" sz="half" idx="10"/>
          </p:nvPr>
        </p:nvSpPr>
        <p:spPr/>
        <p:txBody>
          <a:bodyPr/>
          <a:lstStyle/>
          <a:p>
            <a:fld id="{92FB6F75-9719-4CAF-902B-951CCB2FE4BC}" type="datetimeFigureOut">
              <a:rPr lang="en-GB" smtClean="0"/>
              <a:t>15/05/2025</a:t>
            </a:fld>
            <a:endParaRPr lang="en-GB"/>
          </a:p>
        </p:txBody>
      </p:sp>
      <p:sp>
        <p:nvSpPr>
          <p:cNvPr id="6" name="Footer Placeholder 5">
            <a:extLst>
              <a:ext uri="{FF2B5EF4-FFF2-40B4-BE49-F238E27FC236}">
                <a16:creationId xmlns:a16="http://schemas.microsoft.com/office/drawing/2014/main" id="{D83AAE78-B1EA-61DC-3019-949DD3B2CE0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6B5C391-3180-744E-27D1-085502B368DC}"/>
              </a:ext>
            </a:extLst>
          </p:cNvPr>
          <p:cNvSpPr>
            <a:spLocks noGrp="1"/>
          </p:cNvSpPr>
          <p:nvPr>
            <p:ph type="sldNum" sz="quarter" idx="12"/>
          </p:nvPr>
        </p:nvSpPr>
        <p:spPr/>
        <p:txBody>
          <a:bodyPr/>
          <a:lstStyle/>
          <a:p>
            <a:fld id="{F29889FA-A085-4D8D-B485-D4895BB00615}" type="slidenum">
              <a:rPr lang="en-GB" smtClean="0"/>
              <a:t>‹#›</a:t>
            </a:fld>
            <a:endParaRPr lang="en-GB"/>
          </a:p>
        </p:txBody>
      </p:sp>
    </p:spTree>
    <p:extLst>
      <p:ext uri="{BB962C8B-B14F-4D97-AF65-F5344CB8AC3E}">
        <p14:creationId xmlns:p14="http://schemas.microsoft.com/office/powerpoint/2010/main" val="22279720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Slide 2">
    <p:spTree>
      <p:nvGrpSpPr>
        <p:cNvPr id="1" name=""/>
        <p:cNvGrpSpPr/>
        <p:nvPr/>
      </p:nvGrpSpPr>
      <p:grpSpPr>
        <a:xfrm>
          <a:off x="0" y="0"/>
          <a:ext cx="0" cy="0"/>
          <a:chOff x="0" y="0"/>
          <a:chExt cx="0" cy="0"/>
        </a:xfrm>
      </p:grpSpPr>
      <p:pic>
        <p:nvPicPr>
          <p:cNvPr id="3" name="Picture 2" descr="A blue and purple liquid&#10;&#10;Description automatically generated">
            <a:extLst>
              <a:ext uri="{FF2B5EF4-FFF2-40B4-BE49-F238E27FC236}">
                <a16:creationId xmlns:a16="http://schemas.microsoft.com/office/drawing/2014/main" id="{6364FEF3-E73D-680A-C88E-39649271477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1720" b="8423"/>
          <a:stretch/>
        </p:blipFill>
        <p:spPr>
          <a:xfrm>
            <a:off x="0" y="0"/>
            <a:ext cx="12192000" cy="3200399"/>
          </a:xfrm>
          <a:prstGeom prst="rect">
            <a:avLst/>
          </a:prstGeom>
        </p:spPr>
      </p:pic>
      <p:sp useBgFill="1">
        <p:nvSpPr>
          <p:cNvPr id="30" name="Rectangle 29">
            <a:extLst>
              <a:ext uri="{FF2B5EF4-FFF2-40B4-BE49-F238E27FC236}">
                <a16:creationId xmlns:a16="http://schemas.microsoft.com/office/drawing/2014/main" id="{14512BFF-38DE-2945-A485-3DB2A763C186}"/>
              </a:ext>
            </a:extLst>
          </p:cNvPr>
          <p:cNvSpPr/>
          <p:nvPr userDrawn="1"/>
        </p:nvSpPr>
        <p:spPr bwMode="auto">
          <a:xfrm>
            <a:off x="407459" y="381000"/>
            <a:ext cx="1421341" cy="14213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DB256788-E9A4-88BA-4E04-C43414BEAC8B}"/>
              </a:ext>
            </a:extLst>
          </p:cNvPr>
          <p:cNvGrpSpPr/>
          <p:nvPr userDrawn="1"/>
        </p:nvGrpSpPr>
        <p:grpSpPr>
          <a:xfrm>
            <a:off x="2300492" y="966252"/>
            <a:ext cx="7500001" cy="4468295"/>
            <a:chOff x="1274102" y="2093144"/>
            <a:chExt cx="14236072" cy="7315952"/>
          </a:xfrm>
        </p:grpSpPr>
        <p:sp useBgFill="1">
          <p:nvSpPr>
            <p:cNvPr id="5" name="Rectangle: Rounded Corners 4">
              <a:extLst>
                <a:ext uri="{FF2B5EF4-FFF2-40B4-BE49-F238E27FC236}">
                  <a16:creationId xmlns:a16="http://schemas.microsoft.com/office/drawing/2014/main" id="{10AA256E-4382-F646-B5DF-0B184BFC97B8}"/>
                </a:ext>
              </a:extLst>
            </p:cNvPr>
            <p:cNvSpPr/>
            <p:nvPr/>
          </p:nvSpPr>
          <p:spPr bwMode="auto">
            <a:xfrm>
              <a:off x="1274102" y="2093144"/>
              <a:ext cx="14236072" cy="7315952"/>
            </a:xfrm>
            <a:prstGeom prst="roundRect">
              <a:avLst>
                <a:gd name="adj" fmla="val 2880"/>
              </a:avLst>
            </a:prstGeom>
            <a:ln>
              <a:noFill/>
              <a:headEnd type="none" w="med" len="med"/>
              <a:tailEnd type="none" w="med" len="med"/>
            </a:ln>
            <a:effectLst>
              <a:outerShdw blurRad="1016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Rectangle: Rounded Corners 5">
              <a:extLst>
                <a:ext uri="{FF2B5EF4-FFF2-40B4-BE49-F238E27FC236}">
                  <a16:creationId xmlns:a16="http://schemas.microsoft.com/office/drawing/2014/main" id="{3A233C0D-5B8F-4FC1-119C-C819FA58C30C}"/>
                </a:ext>
              </a:extLst>
            </p:cNvPr>
            <p:cNvSpPr/>
            <p:nvPr/>
          </p:nvSpPr>
          <p:spPr bwMode="auto">
            <a:xfrm>
              <a:off x="1274102" y="2093144"/>
              <a:ext cx="14236072" cy="7315952"/>
            </a:xfrm>
            <a:prstGeom prst="roundRect">
              <a:avLst>
                <a:gd name="adj" fmla="val 2880"/>
              </a:avLst>
            </a:prstGeom>
            <a:solidFill>
              <a:srgbClr val="FFFFFF">
                <a:alpha val="5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pic>
        <p:nvPicPr>
          <p:cNvPr id="7" name="Picture 6" descr="A blue and purple liquid&#10;&#10;Description automatically generated">
            <a:extLst>
              <a:ext uri="{FF2B5EF4-FFF2-40B4-BE49-F238E27FC236}">
                <a16:creationId xmlns:a16="http://schemas.microsoft.com/office/drawing/2014/main" id="{95B5636B-5810-437E-47E3-7DB574BD2B0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694" b="54449"/>
          <a:stretch/>
        </p:blipFill>
        <p:spPr>
          <a:xfrm>
            <a:off x="0" y="3657601"/>
            <a:ext cx="12192000" cy="3200399"/>
          </a:xfrm>
          <a:prstGeom prst="rect">
            <a:avLst/>
          </a:prstGeom>
          <a:effectLst>
            <a:outerShdw blurRad="508000" dist="266700" dir="16200000" rotWithShape="0">
              <a:srgbClr val="002060">
                <a:alpha val="22000"/>
              </a:srgbClr>
            </a:outerShdw>
          </a:effectLst>
        </p:spPr>
      </p:pic>
      <p:sp useBgFill="1">
        <p:nvSpPr>
          <p:cNvPr id="37" name="Rectangle 36">
            <a:extLst>
              <a:ext uri="{FF2B5EF4-FFF2-40B4-BE49-F238E27FC236}">
                <a16:creationId xmlns:a16="http://schemas.microsoft.com/office/drawing/2014/main" id="{B172D1EA-74EF-2667-7EA8-07F7647571C1}"/>
              </a:ext>
            </a:extLst>
          </p:cNvPr>
          <p:cNvSpPr/>
          <p:nvPr userDrawn="1"/>
        </p:nvSpPr>
        <p:spPr bwMode="auto">
          <a:xfrm>
            <a:off x="10386485" y="4865159"/>
            <a:ext cx="1421341" cy="14213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EE992264-1791-7645-CF6D-1A6E7356E5DE}"/>
              </a:ext>
            </a:extLst>
          </p:cNvPr>
          <p:cNvPicPr>
            <a:picLocks noChangeAspect="1"/>
          </p:cNvPicPr>
          <p:nvPr userDrawn="1"/>
        </p:nvPicPr>
        <p:blipFill>
          <a:blip r:embed="rId4">
            <a:alphaModFix amt="40000"/>
            <a:extLst>
              <a:ext uri="{BEBA8EAE-BF5A-486C-A8C5-ECC9F3942E4B}">
                <a14:imgProps xmlns:a14="http://schemas.microsoft.com/office/drawing/2010/main">
                  <a14:imgLayer r:embed="rId5">
                    <a14:imgEffect>
                      <a14:artisticBlur radius="89"/>
                    </a14:imgEffect>
                  </a14:imgLayer>
                </a14:imgProps>
              </a:ext>
            </a:extLst>
          </a:blip>
          <a:stretch>
            <a:fillRect/>
          </a:stretch>
        </p:blipFill>
        <p:spPr>
          <a:xfrm>
            <a:off x="2301127" y="966252"/>
            <a:ext cx="7498730" cy="2235394"/>
          </a:xfrm>
          <a:prstGeom prst="rect">
            <a:avLst/>
          </a:prstGeom>
        </p:spPr>
      </p:pic>
      <p:pic>
        <p:nvPicPr>
          <p:cNvPr id="36" name="Picture 35">
            <a:extLst>
              <a:ext uri="{FF2B5EF4-FFF2-40B4-BE49-F238E27FC236}">
                <a16:creationId xmlns:a16="http://schemas.microsoft.com/office/drawing/2014/main" id="{91B48BEA-3738-7555-95E0-BEB3C9368A80}"/>
              </a:ext>
            </a:extLst>
          </p:cNvPr>
          <p:cNvPicPr>
            <a:picLocks noChangeAspect="1"/>
          </p:cNvPicPr>
          <p:nvPr userDrawn="1"/>
        </p:nvPicPr>
        <p:blipFill>
          <a:blip r:embed="rId6">
            <a:extLst>
              <a:ext uri="{BEBA8EAE-BF5A-486C-A8C5-ECC9F3942E4B}">
                <a14:imgProps xmlns:a14="http://schemas.microsoft.com/office/drawing/2010/main">
                  <a14:imgLayer r:embed="rId7">
                    <a14:imgEffect>
                      <a14:artisticBlur radius="55"/>
                    </a14:imgEffect>
                  </a14:imgLayer>
                </a14:imgProps>
              </a:ext>
            </a:extLst>
          </a:blip>
          <a:stretch>
            <a:fillRect/>
          </a:stretch>
        </p:blipFill>
        <p:spPr>
          <a:xfrm>
            <a:off x="10387926" y="4864569"/>
            <a:ext cx="1418459" cy="1422523"/>
          </a:xfrm>
          <a:prstGeom prst="rect">
            <a:avLst/>
          </a:prstGeom>
        </p:spPr>
      </p:pic>
      <p:pic>
        <p:nvPicPr>
          <p:cNvPr id="10" name="Picture 9" descr="A blue ball with a white circle&#10;&#10;Description automatically generated">
            <a:extLst>
              <a:ext uri="{FF2B5EF4-FFF2-40B4-BE49-F238E27FC236}">
                <a16:creationId xmlns:a16="http://schemas.microsoft.com/office/drawing/2014/main" id="{55F1AB08-F6EA-289E-7214-440F44F7BB20}"/>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flipH="1">
            <a:off x="1847199" y="2224639"/>
            <a:ext cx="733128" cy="746323"/>
          </a:xfrm>
          <a:prstGeom prst="rect">
            <a:avLst/>
          </a:prstGeom>
          <a:effectLst>
            <a:outerShdw blurRad="152400" dist="152400" dir="2700000" algn="tl" rotWithShape="0">
              <a:prstClr val="black">
                <a:alpha val="9000"/>
              </a:prstClr>
            </a:outerShdw>
          </a:effectLst>
        </p:spPr>
      </p:pic>
      <p:pic>
        <p:nvPicPr>
          <p:cNvPr id="11" name="Picture 10" descr="A blue circle with a black background&#10;&#10;Description automatically generated">
            <a:extLst>
              <a:ext uri="{FF2B5EF4-FFF2-40B4-BE49-F238E27FC236}">
                <a16:creationId xmlns:a16="http://schemas.microsoft.com/office/drawing/2014/main" id="{0D79B1B9-DE37-1C0C-D37E-C42DD44F1C44}"/>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023030" y="4334669"/>
            <a:ext cx="1026937" cy="1059799"/>
          </a:xfrm>
          <a:prstGeom prst="rect">
            <a:avLst/>
          </a:prstGeom>
          <a:effectLst>
            <a:outerShdw blurRad="152400" dist="152400" dir="2700000" algn="tl" rotWithShape="0">
              <a:prstClr val="black">
                <a:alpha val="9000"/>
              </a:prstClr>
            </a:outerShdw>
          </a:effectLst>
        </p:spPr>
      </p:pic>
      <p:pic>
        <p:nvPicPr>
          <p:cNvPr id="12" name="Graphic 11">
            <a:extLst>
              <a:ext uri="{FF2B5EF4-FFF2-40B4-BE49-F238E27FC236}">
                <a16:creationId xmlns:a16="http://schemas.microsoft.com/office/drawing/2014/main" id="{83A4CE8A-3F84-D01D-F322-231FCBCDE925}"/>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497928" y="6472169"/>
            <a:ext cx="408037" cy="162940"/>
          </a:xfrm>
          <a:prstGeom prst="rect">
            <a:avLst/>
          </a:prstGeom>
        </p:spPr>
      </p:pic>
      <p:pic>
        <p:nvPicPr>
          <p:cNvPr id="29" name="Picture 28">
            <a:extLst>
              <a:ext uri="{FF2B5EF4-FFF2-40B4-BE49-F238E27FC236}">
                <a16:creationId xmlns:a16="http://schemas.microsoft.com/office/drawing/2014/main" id="{1F7D0696-6202-AF7E-174B-55D248A83F66}"/>
              </a:ext>
            </a:extLst>
          </p:cNvPr>
          <p:cNvPicPr>
            <a:picLocks noChangeAspect="1"/>
          </p:cNvPicPr>
          <p:nvPr userDrawn="1"/>
        </p:nvPicPr>
        <p:blipFill>
          <a:blip r:embed="rId12">
            <a:alphaModFix amt="57000"/>
            <a:extLst>
              <a:ext uri="{BEBA8EAE-BF5A-486C-A8C5-ECC9F3942E4B}">
                <a14:imgProps xmlns:a14="http://schemas.microsoft.com/office/drawing/2010/main">
                  <a14:imgLayer r:embed="rId13">
                    <a14:imgEffect>
                      <a14:artisticBlur radius="68"/>
                    </a14:imgEffect>
                  </a14:imgLayer>
                </a14:imgProps>
              </a:ext>
            </a:extLst>
          </a:blip>
          <a:stretch>
            <a:fillRect/>
          </a:stretch>
        </p:blipFill>
        <p:spPr>
          <a:xfrm>
            <a:off x="406868" y="382441"/>
            <a:ext cx="1422523" cy="1418459"/>
          </a:xfrm>
          <a:prstGeom prst="rect">
            <a:avLst/>
          </a:prstGeom>
        </p:spPr>
      </p:pic>
      <p:grpSp>
        <p:nvGrpSpPr>
          <p:cNvPr id="13" name="Group 4">
            <a:extLst>
              <a:ext uri="{FF2B5EF4-FFF2-40B4-BE49-F238E27FC236}">
                <a16:creationId xmlns:a16="http://schemas.microsoft.com/office/drawing/2014/main" id="{73AFB015-16BA-AB7D-15EE-B6680269E01F}"/>
              </a:ext>
            </a:extLst>
          </p:cNvPr>
          <p:cNvGrpSpPr>
            <a:grpSpLocks noChangeAspect="1"/>
          </p:cNvGrpSpPr>
          <p:nvPr userDrawn="1"/>
        </p:nvGrpSpPr>
        <p:grpSpPr bwMode="auto">
          <a:xfrm>
            <a:off x="406401" y="6456892"/>
            <a:ext cx="901699" cy="192617"/>
            <a:chOff x="384" y="6101"/>
            <a:chExt cx="852" cy="182"/>
          </a:xfrm>
          <a:solidFill>
            <a:schemeClr val="bg1"/>
          </a:solidFill>
        </p:grpSpPr>
        <p:sp>
          <p:nvSpPr>
            <p:cNvPr id="14" name="Freeform 5">
              <a:extLst>
                <a:ext uri="{FF2B5EF4-FFF2-40B4-BE49-F238E27FC236}">
                  <a16:creationId xmlns:a16="http://schemas.microsoft.com/office/drawing/2014/main" id="{31E01C24-21D7-F9C3-B78B-9BC2D09F1910}"/>
                </a:ext>
              </a:extLst>
            </p:cNvPr>
            <p:cNvSpPr>
              <a:spLocks noEditPoints="1"/>
            </p:cNvSpPr>
            <p:nvPr/>
          </p:nvSpPr>
          <p:spPr bwMode="auto">
            <a:xfrm>
              <a:off x="621" y="6129"/>
              <a:ext cx="615" cy="11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82 w 1139"/>
                <a:gd name="T53" fmla="*/ 143 h 220"/>
                <a:gd name="T54" fmla="*/ 553 w 1139"/>
                <a:gd name="T55" fmla="*/ 200 h 220"/>
                <a:gd name="T56" fmla="*/ 610 w 1139"/>
                <a:gd name="T57" fmla="*/ 69 h 220"/>
                <a:gd name="T58" fmla="*/ 636 w 1139"/>
                <a:gd name="T59" fmla="*/ 109 h 220"/>
                <a:gd name="T60" fmla="*/ 568 w 1139"/>
                <a:gd name="T61" fmla="*/ 145 h 220"/>
                <a:gd name="T62" fmla="*/ 637 w 1139"/>
                <a:gd name="T63" fmla="*/ 180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885 w 1139"/>
                <a:gd name="T85" fmla="*/ 69 h 220"/>
                <a:gd name="T86" fmla="*/ 937 w 1139"/>
                <a:gd name="T87" fmla="*/ 199 h 220"/>
                <a:gd name="T88" fmla="*/ 809 w 1139"/>
                <a:gd name="T89" fmla="*/ 146 h 220"/>
                <a:gd name="T90" fmla="*/ 912 w 1139"/>
                <a:gd name="T91" fmla="*/ 180 h 220"/>
                <a:gd name="T92" fmla="*/ 884 w 1139"/>
                <a:gd name="T93" fmla="*/ 97 h 220"/>
                <a:gd name="T94" fmla="*/ 855 w 1139"/>
                <a:gd name="T95" fmla="*/ 180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171" y="15"/>
                    <a:pt x="171" y="15"/>
                    <a:pt x="218" y="15"/>
                  </a:cubicBezTo>
                  <a:cubicBezTo>
                    <a:pt x="218" y="15"/>
                    <a:pt x="218" y="15"/>
                    <a:pt x="218" y="217"/>
                  </a:cubicBezTo>
                  <a:cubicBezTo>
                    <a:pt x="218" y="217"/>
                    <a:pt x="218" y="217"/>
                    <a:pt x="184" y="217"/>
                  </a:cubicBezTo>
                  <a:cubicBezTo>
                    <a:pt x="184" y="217"/>
                    <a:pt x="184" y="217"/>
                    <a:pt x="184" y="89"/>
                  </a:cubicBezTo>
                  <a:cubicBezTo>
                    <a:pt x="184" y="80"/>
                    <a:pt x="184" y="67"/>
                    <a:pt x="185" y="52"/>
                  </a:cubicBezTo>
                  <a:cubicBezTo>
                    <a:pt x="185" y="52"/>
                    <a:pt x="185" y="52"/>
                    <a:pt x="185" y="52"/>
                  </a:cubicBezTo>
                  <a:cubicBezTo>
                    <a:pt x="183" y="58"/>
                    <a:pt x="182" y="65"/>
                    <a:pt x="180" y="68"/>
                  </a:cubicBezTo>
                  <a:cubicBezTo>
                    <a:pt x="180" y="68"/>
                    <a:pt x="180" y="68"/>
                    <a:pt x="120" y="217"/>
                  </a:cubicBezTo>
                  <a:cubicBezTo>
                    <a:pt x="120" y="217"/>
                    <a:pt x="120" y="217"/>
                    <a:pt x="97" y="217"/>
                  </a:cubicBezTo>
                  <a:cubicBezTo>
                    <a:pt x="97" y="217"/>
                    <a:pt x="97" y="217"/>
                    <a:pt x="37" y="70"/>
                  </a:cubicBezTo>
                  <a:cubicBezTo>
                    <a:pt x="36" y="66"/>
                    <a:pt x="34" y="60"/>
                    <a:pt x="32" y="52"/>
                  </a:cubicBezTo>
                  <a:cubicBezTo>
                    <a:pt x="32" y="52"/>
                    <a:pt x="32" y="52"/>
                    <a:pt x="31" y="52"/>
                  </a:cubicBezTo>
                  <a:cubicBezTo>
                    <a:pt x="32" y="56"/>
                    <a:pt x="32" y="60"/>
                    <a:pt x="32" y="65"/>
                  </a:cubicBezTo>
                  <a:cubicBezTo>
                    <a:pt x="33" y="76"/>
                    <a:pt x="33" y="85"/>
                    <a:pt x="33" y="93"/>
                  </a:cubicBezTo>
                  <a:cubicBezTo>
                    <a:pt x="33" y="93"/>
                    <a:pt x="33" y="93"/>
                    <a:pt x="33" y="217"/>
                  </a:cubicBezTo>
                  <a:cubicBezTo>
                    <a:pt x="33" y="217"/>
                    <a:pt x="33" y="217"/>
                    <a:pt x="0" y="217"/>
                  </a:cubicBezTo>
                  <a:cubicBezTo>
                    <a:pt x="0" y="217"/>
                    <a:pt x="0" y="217"/>
                    <a:pt x="0" y="15"/>
                  </a:cubicBezTo>
                  <a:cubicBezTo>
                    <a:pt x="0" y="15"/>
                    <a:pt x="0" y="15"/>
                    <a:pt x="50" y="15"/>
                  </a:cubicBezTo>
                  <a:cubicBezTo>
                    <a:pt x="50" y="15"/>
                    <a:pt x="50" y="15"/>
                    <a:pt x="100" y="142"/>
                  </a:cubicBezTo>
                  <a:cubicBezTo>
                    <a:pt x="105" y="153"/>
                    <a:pt x="108" y="162"/>
                    <a:pt x="109" y="168"/>
                  </a:cubicBezTo>
                  <a:cubicBezTo>
                    <a:pt x="109" y="168"/>
                    <a:pt x="109" y="168"/>
                    <a:pt x="110" y="168"/>
                  </a:cubicBezTo>
                  <a:cubicBezTo>
                    <a:pt x="110" y="168"/>
                    <a:pt x="110" y="168"/>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cubicBezTo>
                    <a:pt x="251" y="217"/>
                    <a:pt x="251" y="217"/>
                    <a:pt x="251" y="217"/>
                  </a:cubicBez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10" y="69"/>
                  </a:moveTo>
                  <a:cubicBezTo>
                    <a:pt x="632" y="69"/>
                    <a:pt x="650" y="75"/>
                    <a:pt x="663" y="89"/>
                  </a:cubicBez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lose/>
                  <a:moveTo>
                    <a:pt x="637" y="180"/>
                  </a:moveTo>
                  <a:cubicBezTo>
                    <a:pt x="643" y="172"/>
                    <a:pt x="646" y="160"/>
                    <a:pt x="646" y="144"/>
                  </a:cubicBez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885" y="69"/>
                  </a:moveTo>
                  <a:cubicBezTo>
                    <a:pt x="908" y="69"/>
                    <a:pt x="926" y="75"/>
                    <a:pt x="938" y="89"/>
                  </a:cubicBez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lose/>
                  <a:moveTo>
                    <a:pt x="912" y="180"/>
                  </a:moveTo>
                  <a:cubicBezTo>
                    <a:pt x="919" y="172"/>
                    <a:pt x="922" y="160"/>
                    <a:pt x="922" y="144"/>
                  </a:cubicBez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5" name="Freeform 6">
              <a:extLst>
                <a:ext uri="{FF2B5EF4-FFF2-40B4-BE49-F238E27FC236}">
                  <a16:creationId xmlns:a16="http://schemas.microsoft.com/office/drawing/2014/main" id="{A8131CF9-A87C-14BD-0808-98E7C47EBFCD}"/>
                </a:ext>
              </a:extLst>
            </p:cNvPr>
            <p:cNvSpPr>
              <a:spLocks/>
            </p:cNvSpPr>
            <p:nvPr/>
          </p:nvSpPr>
          <p:spPr bwMode="auto">
            <a:xfrm>
              <a:off x="384" y="6101"/>
              <a:ext cx="87" cy="87"/>
            </a:xfrm>
            <a:custGeom>
              <a:avLst/>
              <a:gdLst>
                <a:gd name="T0" fmla="*/ 87 w 87"/>
                <a:gd name="T1" fmla="*/ 87 h 87"/>
                <a:gd name="T2" fmla="*/ 0 w 87"/>
                <a:gd name="T3" fmla="*/ 87 h 87"/>
                <a:gd name="T4" fmla="*/ 0 w 87"/>
                <a:gd name="T5" fmla="*/ 0 h 87"/>
                <a:gd name="T6" fmla="*/ 87 w 87"/>
                <a:gd name="T7" fmla="*/ 0 h 87"/>
                <a:gd name="T8" fmla="*/ 87 w 87"/>
                <a:gd name="T9" fmla="*/ 87 h 87"/>
                <a:gd name="T10" fmla="*/ 87 w 87"/>
                <a:gd name="T11" fmla="*/ 87 h 87"/>
              </a:gdLst>
              <a:ahLst/>
              <a:cxnLst>
                <a:cxn ang="0">
                  <a:pos x="T0" y="T1"/>
                </a:cxn>
                <a:cxn ang="0">
                  <a:pos x="T2" y="T3"/>
                </a:cxn>
                <a:cxn ang="0">
                  <a:pos x="T4" y="T5"/>
                </a:cxn>
                <a:cxn ang="0">
                  <a:pos x="T6" y="T7"/>
                </a:cxn>
                <a:cxn ang="0">
                  <a:pos x="T8" y="T9"/>
                </a:cxn>
                <a:cxn ang="0">
                  <a:pos x="T10" y="T11"/>
                </a:cxn>
              </a:cxnLst>
              <a:rect l="0" t="0" r="r" b="b"/>
              <a:pathLst>
                <a:path w="87" h="87">
                  <a:moveTo>
                    <a:pt x="87" y="87"/>
                  </a:moveTo>
                  <a:lnTo>
                    <a:pt x="0" y="87"/>
                  </a:lnTo>
                  <a:lnTo>
                    <a:pt x="0" y="0"/>
                  </a:lnTo>
                  <a:lnTo>
                    <a:pt x="87" y="0"/>
                  </a:lnTo>
                  <a:lnTo>
                    <a:pt x="87" y="87"/>
                  </a:lnTo>
                  <a:lnTo>
                    <a:pt x="8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6" name="Freeform 7">
              <a:extLst>
                <a:ext uri="{FF2B5EF4-FFF2-40B4-BE49-F238E27FC236}">
                  <a16:creationId xmlns:a16="http://schemas.microsoft.com/office/drawing/2014/main" id="{FF5A2207-1C6E-E06A-FAD2-7958EC8121E9}"/>
                </a:ext>
              </a:extLst>
            </p:cNvPr>
            <p:cNvSpPr>
              <a:spLocks/>
            </p:cNvSpPr>
            <p:nvPr/>
          </p:nvSpPr>
          <p:spPr bwMode="auto">
            <a:xfrm>
              <a:off x="480" y="6101"/>
              <a:ext cx="86" cy="87"/>
            </a:xfrm>
            <a:custGeom>
              <a:avLst/>
              <a:gdLst>
                <a:gd name="T0" fmla="*/ 86 w 86"/>
                <a:gd name="T1" fmla="*/ 87 h 87"/>
                <a:gd name="T2" fmla="*/ 0 w 86"/>
                <a:gd name="T3" fmla="*/ 87 h 87"/>
                <a:gd name="T4" fmla="*/ 0 w 86"/>
                <a:gd name="T5" fmla="*/ 0 h 87"/>
                <a:gd name="T6" fmla="*/ 86 w 86"/>
                <a:gd name="T7" fmla="*/ 0 h 87"/>
                <a:gd name="T8" fmla="*/ 86 w 86"/>
                <a:gd name="T9" fmla="*/ 87 h 87"/>
                <a:gd name="T10" fmla="*/ 86 w 86"/>
                <a:gd name="T11" fmla="*/ 87 h 87"/>
              </a:gdLst>
              <a:ahLst/>
              <a:cxnLst>
                <a:cxn ang="0">
                  <a:pos x="T0" y="T1"/>
                </a:cxn>
                <a:cxn ang="0">
                  <a:pos x="T2" y="T3"/>
                </a:cxn>
                <a:cxn ang="0">
                  <a:pos x="T4" y="T5"/>
                </a:cxn>
                <a:cxn ang="0">
                  <a:pos x="T6" y="T7"/>
                </a:cxn>
                <a:cxn ang="0">
                  <a:pos x="T8" y="T9"/>
                </a:cxn>
                <a:cxn ang="0">
                  <a:pos x="T10" y="T11"/>
                </a:cxn>
              </a:cxnLst>
              <a:rect l="0" t="0" r="r" b="b"/>
              <a:pathLst>
                <a:path w="86" h="87">
                  <a:moveTo>
                    <a:pt x="86" y="87"/>
                  </a:moveTo>
                  <a:lnTo>
                    <a:pt x="0" y="87"/>
                  </a:lnTo>
                  <a:lnTo>
                    <a:pt x="0" y="0"/>
                  </a:lnTo>
                  <a:lnTo>
                    <a:pt x="86" y="0"/>
                  </a:lnTo>
                  <a:lnTo>
                    <a:pt x="86" y="87"/>
                  </a:lnTo>
                  <a:lnTo>
                    <a:pt x="8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7" name="Freeform 8">
              <a:extLst>
                <a:ext uri="{FF2B5EF4-FFF2-40B4-BE49-F238E27FC236}">
                  <a16:creationId xmlns:a16="http://schemas.microsoft.com/office/drawing/2014/main" id="{BFE0B214-AEC2-44BC-5001-530BBEC78886}"/>
                </a:ext>
              </a:extLst>
            </p:cNvPr>
            <p:cNvSpPr>
              <a:spLocks/>
            </p:cNvSpPr>
            <p:nvPr/>
          </p:nvSpPr>
          <p:spPr bwMode="auto">
            <a:xfrm>
              <a:off x="384" y="6196"/>
              <a:ext cx="87" cy="87"/>
            </a:xfrm>
            <a:custGeom>
              <a:avLst/>
              <a:gdLst>
                <a:gd name="T0" fmla="*/ 87 w 87"/>
                <a:gd name="T1" fmla="*/ 87 h 87"/>
                <a:gd name="T2" fmla="*/ 0 w 87"/>
                <a:gd name="T3" fmla="*/ 87 h 87"/>
                <a:gd name="T4" fmla="*/ 0 w 87"/>
                <a:gd name="T5" fmla="*/ 0 h 87"/>
                <a:gd name="T6" fmla="*/ 87 w 87"/>
                <a:gd name="T7" fmla="*/ 0 h 87"/>
                <a:gd name="T8" fmla="*/ 87 w 87"/>
                <a:gd name="T9" fmla="*/ 87 h 87"/>
                <a:gd name="T10" fmla="*/ 87 w 87"/>
                <a:gd name="T11" fmla="*/ 87 h 87"/>
              </a:gdLst>
              <a:ahLst/>
              <a:cxnLst>
                <a:cxn ang="0">
                  <a:pos x="T0" y="T1"/>
                </a:cxn>
                <a:cxn ang="0">
                  <a:pos x="T2" y="T3"/>
                </a:cxn>
                <a:cxn ang="0">
                  <a:pos x="T4" y="T5"/>
                </a:cxn>
                <a:cxn ang="0">
                  <a:pos x="T6" y="T7"/>
                </a:cxn>
                <a:cxn ang="0">
                  <a:pos x="T8" y="T9"/>
                </a:cxn>
                <a:cxn ang="0">
                  <a:pos x="T10" y="T11"/>
                </a:cxn>
              </a:cxnLst>
              <a:rect l="0" t="0" r="r" b="b"/>
              <a:pathLst>
                <a:path w="87" h="87">
                  <a:moveTo>
                    <a:pt x="87" y="87"/>
                  </a:moveTo>
                  <a:lnTo>
                    <a:pt x="0" y="87"/>
                  </a:lnTo>
                  <a:lnTo>
                    <a:pt x="0" y="0"/>
                  </a:lnTo>
                  <a:lnTo>
                    <a:pt x="87" y="0"/>
                  </a:lnTo>
                  <a:lnTo>
                    <a:pt x="87" y="87"/>
                  </a:lnTo>
                  <a:lnTo>
                    <a:pt x="8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8" name="Freeform 9">
              <a:extLst>
                <a:ext uri="{FF2B5EF4-FFF2-40B4-BE49-F238E27FC236}">
                  <a16:creationId xmlns:a16="http://schemas.microsoft.com/office/drawing/2014/main" id="{4E06E96C-12A6-D0E6-DCF7-A135CB87B7DB}"/>
                </a:ext>
              </a:extLst>
            </p:cNvPr>
            <p:cNvSpPr>
              <a:spLocks/>
            </p:cNvSpPr>
            <p:nvPr/>
          </p:nvSpPr>
          <p:spPr bwMode="auto">
            <a:xfrm>
              <a:off x="480" y="6196"/>
              <a:ext cx="86" cy="87"/>
            </a:xfrm>
            <a:custGeom>
              <a:avLst/>
              <a:gdLst>
                <a:gd name="T0" fmla="*/ 86 w 86"/>
                <a:gd name="T1" fmla="*/ 87 h 87"/>
                <a:gd name="T2" fmla="*/ 0 w 86"/>
                <a:gd name="T3" fmla="*/ 87 h 87"/>
                <a:gd name="T4" fmla="*/ 0 w 86"/>
                <a:gd name="T5" fmla="*/ 0 h 87"/>
                <a:gd name="T6" fmla="*/ 86 w 86"/>
                <a:gd name="T7" fmla="*/ 0 h 87"/>
                <a:gd name="T8" fmla="*/ 86 w 86"/>
                <a:gd name="T9" fmla="*/ 87 h 87"/>
                <a:gd name="T10" fmla="*/ 86 w 86"/>
                <a:gd name="T11" fmla="*/ 87 h 87"/>
              </a:gdLst>
              <a:ahLst/>
              <a:cxnLst>
                <a:cxn ang="0">
                  <a:pos x="T0" y="T1"/>
                </a:cxn>
                <a:cxn ang="0">
                  <a:pos x="T2" y="T3"/>
                </a:cxn>
                <a:cxn ang="0">
                  <a:pos x="T4" y="T5"/>
                </a:cxn>
                <a:cxn ang="0">
                  <a:pos x="T6" y="T7"/>
                </a:cxn>
                <a:cxn ang="0">
                  <a:pos x="T8" y="T9"/>
                </a:cxn>
                <a:cxn ang="0">
                  <a:pos x="T10" y="T11"/>
                </a:cxn>
              </a:cxnLst>
              <a:rect l="0" t="0" r="r" b="b"/>
              <a:pathLst>
                <a:path w="86" h="87">
                  <a:moveTo>
                    <a:pt x="86" y="87"/>
                  </a:moveTo>
                  <a:lnTo>
                    <a:pt x="0" y="87"/>
                  </a:lnTo>
                  <a:lnTo>
                    <a:pt x="0" y="0"/>
                  </a:lnTo>
                  <a:lnTo>
                    <a:pt x="86" y="0"/>
                  </a:lnTo>
                  <a:lnTo>
                    <a:pt x="86" y="87"/>
                  </a:lnTo>
                  <a:lnTo>
                    <a:pt x="8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grpSp>
      <p:sp>
        <p:nvSpPr>
          <p:cNvPr id="21" name="Title 55">
            <a:extLst>
              <a:ext uri="{FF2B5EF4-FFF2-40B4-BE49-F238E27FC236}">
                <a16:creationId xmlns:a16="http://schemas.microsoft.com/office/drawing/2014/main" id="{3C91C269-477C-E886-070D-FB8934D94771}"/>
              </a:ext>
            </a:extLst>
          </p:cNvPr>
          <p:cNvSpPr>
            <a:spLocks noGrp="1"/>
          </p:cNvSpPr>
          <p:nvPr>
            <p:ph type="title"/>
          </p:nvPr>
        </p:nvSpPr>
        <p:spPr>
          <a:xfrm>
            <a:off x="2690650" y="1416351"/>
            <a:ext cx="6719683" cy="3568095"/>
          </a:xfrm>
        </p:spPr>
        <p:txBody>
          <a:bodyPr anchor="ctr">
            <a:normAutofit/>
          </a:bodyPr>
          <a:lstStyle>
            <a:lvl1pPr algn="ctr">
              <a:defRPr/>
            </a:lvl1pPr>
          </a:lstStyle>
          <a:p>
            <a:r>
              <a:rPr lang="en-US"/>
              <a:t>Click to edit Master title style</a:t>
            </a:r>
            <a:endParaRPr lang="en-GB"/>
          </a:p>
        </p:txBody>
      </p:sp>
      <p:sp>
        <p:nvSpPr>
          <p:cNvPr id="22" name="Rectangle 21">
            <a:extLst>
              <a:ext uri="{FF2B5EF4-FFF2-40B4-BE49-F238E27FC236}">
                <a16:creationId xmlns:a16="http://schemas.microsoft.com/office/drawing/2014/main" id="{23E02C1A-10C6-BCA9-E6E7-9578F406BBC3}"/>
              </a:ext>
            </a:extLst>
          </p:cNvPr>
          <p:cNvSpPr/>
          <p:nvPr userDrawn="1"/>
        </p:nvSpPr>
        <p:spPr bwMode="auto">
          <a:xfrm>
            <a:off x="407459" y="381000"/>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77274BB7-7F03-99BD-8E08-6D344F89822F}"/>
              </a:ext>
            </a:extLst>
          </p:cNvPr>
          <p:cNvSpPr/>
          <p:nvPr userDrawn="1"/>
        </p:nvSpPr>
        <p:spPr bwMode="auto">
          <a:xfrm>
            <a:off x="10386485" y="4865159"/>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4" name="[T2O] TextBox 19">
            <a:extLst>
              <a:ext uri="{FF2B5EF4-FFF2-40B4-BE49-F238E27FC236}">
                <a16:creationId xmlns:a16="http://schemas.microsoft.com/office/drawing/2014/main" id="{92A71A68-CC54-00E2-7ECF-868F88C54848}"/>
              </a:ext>
            </a:extLst>
          </p:cNvPr>
          <p:cNvSpPr/>
          <p:nvPr userDrawn="1"/>
        </p:nvSpPr>
        <p:spPr bwMode="auto">
          <a:xfrm>
            <a:off x="837289" y="848395"/>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5" name="[T2O] TextBox 19">
            <a:extLst>
              <a:ext uri="{FF2B5EF4-FFF2-40B4-BE49-F238E27FC236}">
                <a16:creationId xmlns:a16="http://schemas.microsoft.com/office/drawing/2014/main" id="{C2CEE336-711E-7D99-CCA8-CB11BC3D288B}"/>
              </a:ext>
            </a:extLst>
          </p:cNvPr>
          <p:cNvSpPr/>
          <p:nvPr userDrawn="1"/>
        </p:nvSpPr>
        <p:spPr bwMode="auto">
          <a:xfrm rot="10800000">
            <a:off x="10816315" y="5332553"/>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123541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all to Ac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5"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39"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 name="Text Placeholder 3">
            <a:extLst>
              <a:ext uri="{FF2B5EF4-FFF2-40B4-BE49-F238E27FC236}">
                <a16:creationId xmlns:a16="http://schemas.microsoft.com/office/drawing/2014/main" id="{287E6810-9F2C-498E-9E22-74F818EA118A}"/>
              </a:ext>
            </a:extLst>
          </p:cNvPr>
          <p:cNvSpPr>
            <a:spLocks noGrp="1"/>
          </p:cNvSpPr>
          <p:nvPr>
            <p:ph type="body" sz="quarter" idx="19"/>
          </p:nvPr>
        </p:nvSpPr>
        <p:spPr>
          <a:xfrm>
            <a:off x="383938" y="5558442"/>
            <a:ext cx="11424126"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22" name="Group 21">
            <a:extLst>
              <a:ext uri="{FF2B5EF4-FFF2-40B4-BE49-F238E27FC236}">
                <a16:creationId xmlns:a16="http://schemas.microsoft.com/office/drawing/2014/main" id="{87F83D5E-03EF-4AFE-D233-65D4C101F0A7}"/>
              </a:ext>
            </a:extLst>
          </p:cNvPr>
          <p:cNvGrpSpPr>
            <a:grpSpLocks/>
          </p:cNvGrpSpPr>
          <p:nvPr userDrawn="1"/>
        </p:nvGrpSpPr>
        <p:grpSpPr>
          <a:xfrm>
            <a:off x="1539872" y="2009350"/>
            <a:ext cx="1431928" cy="1432347"/>
            <a:chOff x="8485195" y="4484505"/>
            <a:chExt cx="1317610" cy="1317990"/>
          </a:xfrm>
        </p:grpSpPr>
        <p:sp>
          <p:nvSpPr>
            <p:cNvPr id="23" name="Oval 22">
              <a:extLst>
                <a:ext uri="{FF2B5EF4-FFF2-40B4-BE49-F238E27FC236}">
                  <a16:creationId xmlns:a16="http://schemas.microsoft.com/office/drawing/2014/main" id="{CB4808A1-8FC7-8AC7-DAD2-290A22257C60}"/>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54E537A8-ADA9-8141-018D-E2035D4DB8F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1</a:t>
              </a:r>
            </a:p>
          </p:txBody>
        </p:sp>
      </p:grpSp>
      <p:grpSp>
        <p:nvGrpSpPr>
          <p:cNvPr id="25" name="Group 24">
            <a:extLst>
              <a:ext uri="{FF2B5EF4-FFF2-40B4-BE49-F238E27FC236}">
                <a16:creationId xmlns:a16="http://schemas.microsoft.com/office/drawing/2014/main" id="{3D6FD52F-FF30-3B0E-18EE-AC24A7A75953}"/>
              </a:ext>
            </a:extLst>
          </p:cNvPr>
          <p:cNvGrpSpPr>
            <a:grpSpLocks/>
          </p:cNvGrpSpPr>
          <p:nvPr userDrawn="1"/>
        </p:nvGrpSpPr>
        <p:grpSpPr>
          <a:xfrm>
            <a:off x="5379253" y="2009350"/>
            <a:ext cx="1431928" cy="1432347"/>
            <a:chOff x="8485195" y="4484505"/>
            <a:chExt cx="1317610" cy="1317990"/>
          </a:xfrm>
        </p:grpSpPr>
        <p:sp>
          <p:nvSpPr>
            <p:cNvPr id="26" name="Oval 25">
              <a:extLst>
                <a:ext uri="{FF2B5EF4-FFF2-40B4-BE49-F238E27FC236}">
                  <a16:creationId xmlns:a16="http://schemas.microsoft.com/office/drawing/2014/main" id="{A83A0FF6-8C4C-6015-0323-D466641C6EA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4AC288B0-4622-C443-FB89-BFB43786CCD6}"/>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2</a:t>
              </a:r>
            </a:p>
          </p:txBody>
        </p:sp>
      </p:grpSp>
      <p:grpSp>
        <p:nvGrpSpPr>
          <p:cNvPr id="28" name="Group 27">
            <a:extLst>
              <a:ext uri="{FF2B5EF4-FFF2-40B4-BE49-F238E27FC236}">
                <a16:creationId xmlns:a16="http://schemas.microsoft.com/office/drawing/2014/main" id="{A3755683-F6C8-D8BE-E9E2-9FD646D742E1}"/>
              </a:ext>
            </a:extLst>
          </p:cNvPr>
          <p:cNvGrpSpPr>
            <a:grpSpLocks/>
          </p:cNvGrpSpPr>
          <p:nvPr userDrawn="1"/>
        </p:nvGrpSpPr>
        <p:grpSpPr>
          <a:xfrm>
            <a:off x="9218639" y="2009350"/>
            <a:ext cx="1431928" cy="1432347"/>
            <a:chOff x="8485195" y="4484505"/>
            <a:chExt cx="1317610" cy="1317990"/>
          </a:xfrm>
        </p:grpSpPr>
        <p:sp>
          <p:nvSpPr>
            <p:cNvPr id="32" name="Oval 31">
              <a:extLst>
                <a:ext uri="{FF2B5EF4-FFF2-40B4-BE49-F238E27FC236}">
                  <a16:creationId xmlns:a16="http://schemas.microsoft.com/office/drawing/2014/main" id="{AC2BD5B6-B2A5-673B-69C6-A2CA7E4B4B66}"/>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24E607C8-C3ED-F291-CBBD-F5E988EDED4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3</a:t>
              </a:r>
            </a:p>
          </p:txBody>
        </p:sp>
      </p:grpSp>
      <p:grpSp>
        <p:nvGrpSpPr>
          <p:cNvPr id="4" name="Group 3">
            <a:extLst>
              <a:ext uri="{FF2B5EF4-FFF2-40B4-BE49-F238E27FC236}">
                <a16:creationId xmlns:a16="http://schemas.microsoft.com/office/drawing/2014/main" id="{4B4160EC-05BB-C50A-8EBF-E0B2AE280A65}"/>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405A36A3-B6C9-0D6E-7426-A09C001E89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AAFCB9B6-D446-88F6-0222-8D7BA6301D7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79014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339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losing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6D86FC34-76C9-46CC-AC6A-149F89703956}"/>
              </a:ext>
            </a:extLst>
          </p:cNvPr>
          <p:cNvSpPr>
            <a:spLocks noGrp="1"/>
          </p:cNvSpPr>
          <p:nvPr>
            <p:ph type="pic" sz="quarter" idx="10"/>
          </p:nvPr>
        </p:nvSpPr>
        <p:spPr>
          <a:xfrm>
            <a:off x="4223322" y="2556994"/>
            <a:ext cx="3745358" cy="1744014"/>
          </a:xfrm>
          <a:prstGeom prst="rect">
            <a:avLst/>
          </a:prstGeom>
        </p:spPr>
        <p:txBody>
          <a:bodyPr/>
          <a:lstStyle>
            <a:lvl1pPr>
              <a:defRPr>
                <a:solidFill>
                  <a:schemeClr val="bg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417B8217-57C5-52FF-7CB8-C2171B1FE1B8}"/>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3F818E67-B426-EAA0-4CDD-973F744FD8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6DE3C2CD-3D62-5156-799B-7B9E9A747DD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285649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EA62305-6B01-A071-D90F-2A2C06D2C7D6}"/>
              </a:ext>
            </a:extLst>
          </p:cNvPr>
          <p:cNvGrpSpPr/>
          <p:nvPr userDrawn="1"/>
        </p:nvGrpSpPr>
        <p:grpSpPr>
          <a:xfrm>
            <a:off x="3627703" y="3111500"/>
            <a:ext cx="4936595" cy="635000"/>
            <a:chOff x="611188" y="9429750"/>
            <a:chExt cx="3412172" cy="438912"/>
          </a:xfrm>
        </p:grpSpPr>
        <p:pic>
          <p:nvPicPr>
            <p:cNvPr id="3" name="Graphic 2">
              <a:extLst>
                <a:ext uri="{FF2B5EF4-FFF2-40B4-BE49-F238E27FC236}">
                  <a16:creationId xmlns:a16="http://schemas.microsoft.com/office/drawing/2014/main" id="{CB6B2246-7E90-010E-75CE-B8723847B1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F79ECA7C-C96B-B546-5D74-72EF1FF0640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23911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Full bleed vide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5A5AC2F-965C-BAA7-FA32-3D6E91E31EF4}"/>
              </a:ext>
            </a:extLst>
          </p:cNvPr>
          <p:cNvSpPr>
            <a:spLocks noGrp="1"/>
          </p:cNvSpPr>
          <p:nvPr>
            <p:ph type="sldNum" sz="quarter" idx="12"/>
          </p:nvPr>
        </p:nvSpPr>
        <p:spPr/>
        <p:txBody>
          <a:bodyPr/>
          <a:lstStyle/>
          <a:p>
            <a:fld id="{2D558589-A89D-4A23-90A4-085F4AC5F527}" type="slidenum">
              <a:rPr lang="en-GB" smtClean="0"/>
              <a:t>‹#›</a:t>
            </a:fld>
            <a:endParaRPr lang="en-GB"/>
          </a:p>
        </p:txBody>
      </p:sp>
    </p:spTree>
    <p:extLst>
      <p:ext uri="{BB962C8B-B14F-4D97-AF65-F5344CB8AC3E}">
        <p14:creationId xmlns:p14="http://schemas.microsoft.com/office/powerpoint/2010/main" val="282451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Full bleed 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A3CD2B91-8226-45DB-61A0-F133037AFFFB}"/>
              </a:ext>
            </a:extLst>
          </p:cNvPr>
          <p:cNvSpPr>
            <a:spLocks noGrp="1"/>
          </p:cNvSpPr>
          <p:nvPr>
            <p:ph type="media" sz="quarter" idx="13"/>
          </p:nvPr>
        </p:nvSpPr>
        <p:spPr>
          <a:xfrm>
            <a:off x="0" y="0"/>
            <a:ext cx="12192000" cy="6858000"/>
          </a:xfrm>
        </p:spPr>
        <p:txBody>
          <a:bodyPr/>
          <a:lstStyle/>
          <a:p>
            <a:endParaRPr lang="en-GB"/>
          </a:p>
        </p:txBody>
      </p:sp>
      <p:sp>
        <p:nvSpPr>
          <p:cNvPr id="6" name="Slide Number Placeholder 5">
            <a:extLst>
              <a:ext uri="{FF2B5EF4-FFF2-40B4-BE49-F238E27FC236}">
                <a16:creationId xmlns:a16="http://schemas.microsoft.com/office/drawing/2014/main" id="{85A5AC2F-965C-BAA7-FA32-3D6E91E31EF4}"/>
              </a:ext>
            </a:extLst>
          </p:cNvPr>
          <p:cNvSpPr>
            <a:spLocks noGrp="1"/>
          </p:cNvSpPr>
          <p:nvPr>
            <p:ph type="sldNum" sz="quarter" idx="12"/>
          </p:nvPr>
        </p:nvSpPr>
        <p:spPr/>
        <p:txBody>
          <a:bodyPr/>
          <a:lstStyle/>
          <a:p>
            <a:fld id="{2D558589-A89D-4A23-90A4-085F4AC5F527}" type="slidenum">
              <a:rPr lang="en-GB" smtClean="0"/>
              <a:t>‹#›</a:t>
            </a:fld>
            <a:endParaRPr lang="en-GB"/>
          </a:p>
        </p:txBody>
      </p:sp>
    </p:spTree>
    <p:extLst>
      <p:ext uri="{BB962C8B-B14F-4D97-AF65-F5344CB8AC3E}">
        <p14:creationId xmlns:p14="http://schemas.microsoft.com/office/powerpoint/2010/main" val="2444899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94369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8984318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08978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3804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18A719-BCF3-2AB0-B9F3-C105DED3881E}"/>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33540E92-CEAD-FE82-13A5-C991C8A6FA3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DBD9C745-A5D3-1842-652D-4499CA5855D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B4304773-0E17-FDE0-C638-4227A38BC19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EE69833C-633A-19DA-FE9E-1FD7FCDCC85F}"/>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130BE6A2-1B7E-FBFA-1FFA-3B0DF824708A}"/>
              </a:ext>
            </a:extLst>
          </p:cNvPr>
          <p:cNvSpPr>
            <a:spLocks noGrp="1"/>
          </p:cNvSpPr>
          <p:nvPr>
            <p:ph type="dt" sz="half" idx="10"/>
          </p:nvPr>
        </p:nvSpPr>
        <p:spPr/>
        <p:txBody>
          <a:bodyPr/>
          <a:lstStyle/>
          <a:p>
            <a:fld id="{92FB6F75-9719-4CAF-902B-951CCB2FE4BC}" type="datetimeFigureOut">
              <a:rPr lang="en-GB" smtClean="0"/>
              <a:t>15/05/2025</a:t>
            </a:fld>
            <a:endParaRPr lang="en-GB"/>
          </a:p>
        </p:txBody>
      </p:sp>
      <p:sp>
        <p:nvSpPr>
          <p:cNvPr id="8" name="Footer Placeholder 7">
            <a:extLst>
              <a:ext uri="{FF2B5EF4-FFF2-40B4-BE49-F238E27FC236}">
                <a16:creationId xmlns:a16="http://schemas.microsoft.com/office/drawing/2014/main" id="{8610CD46-E43E-61B5-840B-8D75F4204D4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96A066BA-6BE6-5217-C6FD-B607349A10B1}"/>
              </a:ext>
            </a:extLst>
          </p:cNvPr>
          <p:cNvSpPr>
            <a:spLocks noGrp="1"/>
          </p:cNvSpPr>
          <p:nvPr>
            <p:ph type="sldNum" sz="quarter" idx="12"/>
          </p:nvPr>
        </p:nvSpPr>
        <p:spPr/>
        <p:txBody>
          <a:bodyPr/>
          <a:lstStyle/>
          <a:p>
            <a:fld id="{F29889FA-A085-4D8D-B485-D4895BB00615}" type="slidenum">
              <a:rPr lang="en-GB" smtClean="0"/>
              <a:t>‹#›</a:t>
            </a:fld>
            <a:endParaRPr lang="en-GB"/>
          </a:p>
        </p:txBody>
      </p:sp>
    </p:spTree>
    <p:extLst>
      <p:ext uri="{BB962C8B-B14F-4D97-AF65-F5344CB8AC3E}">
        <p14:creationId xmlns:p14="http://schemas.microsoft.com/office/powerpoint/2010/main" val="27803620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ntent - Triple Column_Ligh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84840B20-C12D-4341-8583-DDED29510512}"/>
              </a:ext>
            </a:extLst>
          </p:cNvPr>
          <p:cNvSpPr>
            <a:spLocks noGrp="1"/>
          </p:cNvSpPr>
          <p:nvPr>
            <p:ph sz="half" idx="12"/>
          </p:nvPr>
        </p:nvSpPr>
        <p:spPr>
          <a:xfrm>
            <a:off x="85344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68C49CB2-E66C-694E-A6B7-C8FB71D4E452}"/>
              </a:ext>
            </a:extLst>
          </p:cNvPr>
          <p:cNvSpPr>
            <a:spLocks noGrp="1"/>
          </p:cNvSpPr>
          <p:nvPr>
            <p:ph sz="half" idx="11"/>
          </p:nvPr>
        </p:nvSpPr>
        <p:spPr>
          <a:xfrm>
            <a:off x="44958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a:extLst>
              <a:ext uri="{FF2B5EF4-FFF2-40B4-BE49-F238E27FC236}">
                <a16:creationId xmlns:a16="http://schemas.microsoft.com/office/drawing/2014/main" id="{AA1B0F32-91D5-FA4F-B634-F15D1C3D9546}"/>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CE29D84-1874-0443-88E6-E38867CBD286}"/>
              </a:ext>
            </a:extLst>
          </p:cNvPr>
          <p:cNvSpPr>
            <a:spLocks noGrp="1"/>
          </p:cNvSpPr>
          <p:nvPr>
            <p:ph type="title"/>
          </p:nvPr>
        </p:nvSpPr>
        <p:spPr/>
        <p:txBody>
          <a:bodyPr/>
          <a:lstStyle/>
          <a:p>
            <a:r>
              <a:rPr lang="en-US"/>
              <a:t>Click to edit Master title style</a:t>
            </a:r>
          </a:p>
        </p:txBody>
      </p:sp>
      <p:pic>
        <p:nvPicPr>
          <p:cNvPr id="4" name="Microsoft Logo">
            <a:extLst>
              <a:ext uri="{FF2B5EF4-FFF2-40B4-BE49-F238E27FC236}">
                <a16:creationId xmlns:a16="http://schemas.microsoft.com/office/drawing/2014/main" id="{4B7E80A8-4A25-724C-E7EC-77A0181920C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17698752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ontent + Image_Ligh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8CB2AFB-07EC-BF43-B73F-977249E6D260}"/>
              </a:ext>
              <a:ext uri="{C183D7F6-B498-43B3-948B-1728B52AA6E4}">
                <adec:decorative xmlns:adec="http://schemas.microsoft.com/office/drawing/2017/decorative" val="0"/>
              </a:ext>
            </a:extLst>
          </p:cNvPr>
          <p:cNvSpPr>
            <a:spLocks noGrp="1"/>
          </p:cNvSpPr>
          <p:nvPr>
            <p:ph type="pic" sz="quarter" idx="10"/>
          </p:nvPr>
        </p:nvSpPr>
        <p:spPr>
          <a:xfrm>
            <a:off x="4838700" y="1"/>
            <a:ext cx="7353300" cy="6858000"/>
          </a:xfrm>
          <a:solidFill>
            <a:schemeClr val="bg1"/>
          </a:solidFill>
        </p:spPr>
        <p:txBody>
          <a:bodyPr/>
          <a:lstStyle>
            <a:lvl1pPr marL="0" indent="0">
              <a:buNone/>
              <a:defRPr>
                <a:noFill/>
              </a:defRPr>
            </a:lvl1pPr>
          </a:lstStyle>
          <a:p>
            <a:endParaRPr lang="en-US"/>
          </a:p>
        </p:txBody>
      </p:sp>
      <p:sp>
        <p:nvSpPr>
          <p:cNvPr id="15" name="Content Placeholder 2">
            <a:extLst>
              <a:ext uri="{FF2B5EF4-FFF2-40B4-BE49-F238E27FC236}">
                <a16:creationId xmlns:a16="http://schemas.microsoft.com/office/drawing/2014/main" id="{706A72A2-5CFA-BF4D-A016-F618FE940847}"/>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B4FA9BA-94BD-AB45-98A2-D07EED26D199}"/>
              </a:ext>
            </a:extLst>
          </p:cNvPr>
          <p:cNvSpPr>
            <a:spLocks noGrp="1"/>
          </p:cNvSpPr>
          <p:nvPr>
            <p:ph type="title"/>
          </p:nvPr>
        </p:nvSpPr>
        <p:spPr>
          <a:xfrm>
            <a:off x="457200" y="1123122"/>
            <a:ext cx="2743200" cy="567566"/>
          </a:xfrm>
        </p:spPr>
        <p:txBody>
          <a:bodyPr/>
          <a:lstStyle/>
          <a:p>
            <a:r>
              <a:rPr lang="en-US"/>
              <a:t>Click to edit Master title style</a:t>
            </a:r>
          </a:p>
        </p:txBody>
      </p:sp>
      <p:pic>
        <p:nvPicPr>
          <p:cNvPr id="4" name="Microsoft Logo">
            <a:extLst>
              <a:ext uri="{FF2B5EF4-FFF2-40B4-BE49-F238E27FC236}">
                <a16:creationId xmlns:a16="http://schemas.microsoft.com/office/drawing/2014/main" id="{4057F9AC-72C5-2B54-07C1-3A74838CF2F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25385448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066854"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987440" y="4874481"/>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34372451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53833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Content Slid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4F800DD-8F1F-3331-35FB-EEA18801B1F2}"/>
              </a:ext>
            </a:extLst>
          </p:cNvPr>
          <p:cNvSpPr>
            <a:spLocks noGrp="1"/>
          </p:cNvSpPr>
          <p:nvPr>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5C0C56A3-063A-B656-5130-DFB2E1C43D4B}"/>
              </a:ext>
            </a:extLst>
          </p:cNvPr>
          <p:cNvSpPr>
            <a:spLocks noGrp="1"/>
          </p:cNvSpPr>
          <p:nvPr>
            <p:ph type="body" sz="quarter" idx="27"/>
          </p:nvPr>
        </p:nvSpPr>
        <p:spPr>
          <a:xfrm>
            <a:off x="563563" y="1447800"/>
            <a:ext cx="11064875"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8FA9A0FF-90E2-5FF0-2EBE-9DAD62B4346B}"/>
              </a:ext>
            </a:extLst>
          </p:cNvPr>
          <p:cNvSpPr>
            <a:spLocks noGrp="1"/>
          </p:cNvSpPr>
          <p:nvPr>
            <p:ph type="ftr" sz="quarter" idx="28"/>
          </p:nvPr>
        </p:nvSpPr>
        <p:spPr/>
        <p:txBody>
          <a:bodyPr/>
          <a:lstStyle/>
          <a:p>
            <a:endParaRPr lang="en-US"/>
          </a:p>
        </p:txBody>
      </p:sp>
      <p:sp>
        <p:nvSpPr>
          <p:cNvPr id="5" name="Slide Number Placeholder 4">
            <a:extLst>
              <a:ext uri="{FF2B5EF4-FFF2-40B4-BE49-F238E27FC236}">
                <a16:creationId xmlns:a16="http://schemas.microsoft.com/office/drawing/2014/main" id="{104849C8-984A-DDEE-A4FA-7334BCB44213}"/>
              </a:ext>
            </a:extLst>
          </p:cNvPr>
          <p:cNvSpPr>
            <a:spLocks noGrp="1"/>
          </p:cNvSpPr>
          <p:nvPr>
            <p:ph type="sldNum" sz="quarter" idx="29"/>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488865716"/>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up Cards - Color">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1446967" y="1501276"/>
            <a:ext cx="9298066" cy="4537279"/>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1763086" y="169419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1890965" y="1838007"/>
            <a:ext cx="3854053" cy="951711"/>
          </a:xfrm>
          <a:prstGeom prst="round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1978213" y="201272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1977985" y="291493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6250196" y="169516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6378075" y="1838977"/>
            <a:ext cx="3854053" cy="951711"/>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6465323" y="201369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6465095" y="291590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9291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Product View Right">
    <p:spTree>
      <p:nvGrpSpPr>
        <p:cNvPr id="1" name=""/>
        <p:cNvGrpSpPr/>
        <p:nvPr/>
      </p:nvGrpSpPr>
      <p:grpSpPr>
        <a:xfrm>
          <a:off x="0" y="0"/>
          <a:ext cx="0" cy="0"/>
          <a:chOff x="0" y="0"/>
          <a:chExt cx="0" cy="0"/>
        </a:xfrm>
      </p:grpSpPr>
      <p:pic>
        <p:nvPicPr>
          <p:cNvPr id="10" name="Picture 9" descr="A black screen with a black background&#10;&#10;Description automatically generated">
            <a:extLst>
              <a:ext uri="{FF2B5EF4-FFF2-40B4-BE49-F238E27FC236}">
                <a16:creationId xmlns:a16="http://schemas.microsoft.com/office/drawing/2014/main" id="{1B734122-BEE1-29E0-F586-EFFB1DCFD8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52651" y="1222097"/>
            <a:ext cx="7772400" cy="5272365"/>
          </a:xfrm>
          <a:prstGeom prst="rect">
            <a:avLst/>
          </a:prstGeom>
        </p:spPr>
      </p:pic>
      <p:sp>
        <p:nvSpPr>
          <p:cNvPr id="17" name="Picture Placeholder 16">
            <a:extLst>
              <a:ext uri="{FF2B5EF4-FFF2-40B4-BE49-F238E27FC236}">
                <a16:creationId xmlns:a16="http://schemas.microsoft.com/office/drawing/2014/main" id="{E5CFD0C7-08DE-79B6-78CB-093AAADB3390}"/>
              </a:ext>
            </a:extLst>
          </p:cNvPr>
          <p:cNvSpPr>
            <a:spLocks noGrp="1"/>
          </p:cNvSpPr>
          <p:nvPr>
            <p:ph type="pic" sz="quarter" idx="12"/>
          </p:nvPr>
        </p:nvSpPr>
        <p:spPr>
          <a:xfrm>
            <a:off x="5153725" y="1520825"/>
            <a:ext cx="7175500" cy="4032250"/>
          </a:xfrm>
          <a:prstGeom prst="rect">
            <a:avLst/>
          </a:prstGeom>
          <a:solidFill>
            <a:schemeClr val="accent5"/>
          </a:solidFill>
        </p:spPr>
        <p:txBody>
          <a:bodyPr anchor="ctr">
            <a:normAutofit/>
          </a:bodyPr>
          <a:lstStyle>
            <a:lvl1pPr marL="0" indent="0" algn="ctr">
              <a:buNone/>
              <a:defRPr sz="1600">
                <a:solidFill>
                  <a:schemeClr val="bg1"/>
                </a:solidFill>
              </a:defRPr>
            </a:lvl1pPr>
          </a:lstStyle>
          <a:p>
            <a:r>
              <a:rPr lang="en-US"/>
              <a:t>Click icon to add picture</a:t>
            </a:r>
          </a:p>
        </p:txBody>
      </p:sp>
      <p:sp>
        <p:nvSpPr>
          <p:cNvPr id="3" name="Title 2">
            <a:extLst>
              <a:ext uri="{FF2B5EF4-FFF2-40B4-BE49-F238E27FC236}">
                <a16:creationId xmlns:a16="http://schemas.microsoft.com/office/drawing/2014/main" id="{C42C3667-27FF-8112-BBCC-F336F9F8C31F}"/>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4BB2D9B-DA93-9E77-84C5-0C3CFD99054F}"/>
              </a:ext>
            </a:extLst>
          </p:cNvPr>
          <p:cNvSpPr>
            <a:spLocks noGrp="1"/>
          </p:cNvSpPr>
          <p:nvPr>
            <p:ph type="body" sz="quarter" idx="26"/>
          </p:nvPr>
        </p:nvSpPr>
        <p:spPr>
          <a:xfrm>
            <a:off x="563563" y="1447800"/>
            <a:ext cx="41783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5F63A2F-5523-CAA4-2CC0-315D02F79FCB}"/>
              </a:ext>
            </a:extLst>
          </p:cNvPr>
          <p:cNvSpPr>
            <a:spLocks noGrp="1"/>
          </p:cNvSpPr>
          <p:nvPr>
            <p:ph type="ftr" sz="quarter" idx="2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a:extLst>
              <a:ext uri="{FF2B5EF4-FFF2-40B4-BE49-F238E27FC236}">
                <a16:creationId xmlns:a16="http://schemas.microsoft.com/office/drawing/2014/main" id="{26664097-0F62-E65A-F7B5-4B090045E015}"/>
              </a:ext>
            </a:extLst>
          </p:cNvPr>
          <p:cNvSpPr>
            <a:spLocks noGrp="1"/>
          </p:cNvSpPr>
          <p:nvPr>
            <p:ph type="sldNum" sz="quarter" idx="2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90879346"/>
      </p:ext>
    </p:extLst>
  </p:cSld>
  <p:clrMapOvr>
    <a:masterClrMapping/>
  </p:clrMapOvr>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Product View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42C3667-27FF-8112-BBCC-F336F9F8C31F}"/>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4BB2D9B-DA93-9E77-84C5-0C3CFD99054F}"/>
              </a:ext>
            </a:extLst>
          </p:cNvPr>
          <p:cNvSpPr>
            <a:spLocks noGrp="1"/>
          </p:cNvSpPr>
          <p:nvPr>
            <p:ph type="body" sz="quarter" idx="26"/>
          </p:nvPr>
        </p:nvSpPr>
        <p:spPr>
          <a:xfrm>
            <a:off x="7449820" y="1403746"/>
            <a:ext cx="41783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5F63A2F-5523-CAA4-2CC0-315D02F79FCB}"/>
              </a:ext>
            </a:extLst>
          </p:cNvPr>
          <p:cNvSpPr>
            <a:spLocks noGrp="1"/>
          </p:cNvSpPr>
          <p:nvPr>
            <p:ph type="ftr" sz="quarter" idx="2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a:extLst>
              <a:ext uri="{FF2B5EF4-FFF2-40B4-BE49-F238E27FC236}">
                <a16:creationId xmlns:a16="http://schemas.microsoft.com/office/drawing/2014/main" id="{26664097-0F62-E65A-F7B5-4B090045E015}"/>
              </a:ext>
            </a:extLst>
          </p:cNvPr>
          <p:cNvSpPr>
            <a:spLocks noGrp="1"/>
          </p:cNvSpPr>
          <p:nvPr>
            <p:ph type="sldNum" sz="quarter" idx="2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2" name="Picture 1" descr="A black screen with a black background&#10;&#10;Description automatically generated">
            <a:extLst>
              <a:ext uri="{FF2B5EF4-FFF2-40B4-BE49-F238E27FC236}">
                <a16:creationId xmlns:a16="http://schemas.microsoft.com/office/drawing/2014/main" id="{3D4637E6-5CA1-DABE-E1BA-FD1476F443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3055" y="1373144"/>
            <a:ext cx="7772400" cy="5272365"/>
          </a:xfrm>
          <a:prstGeom prst="rect">
            <a:avLst/>
          </a:prstGeom>
        </p:spPr>
      </p:pic>
      <p:sp>
        <p:nvSpPr>
          <p:cNvPr id="4" name="Picture Placeholder 16">
            <a:extLst>
              <a:ext uri="{FF2B5EF4-FFF2-40B4-BE49-F238E27FC236}">
                <a16:creationId xmlns:a16="http://schemas.microsoft.com/office/drawing/2014/main" id="{55C3C08B-B20C-BB15-F7C0-1304F0FD8B9B}"/>
              </a:ext>
            </a:extLst>
          </p:cNvPr>
          <p:cNvSpPr>
            <a:spLocks noGrp="1"/>
          </p:cNvSpPr>
          <p:nvPr>
            <p:ph type="pic" sz="quarter" idx="12"/>
          </p:nvPr>
        </p:nvSpPr>
        <p:spPr>
          <a:xfrm>
            <a:off x="-171981" y="1671872"/>
            <a:ext cx="7175500" cy="4032250"/>
          </a:xfrm>
          <a:prstGeom prst="rect">
            <a:avLst/>
          </a:prstGeom>
          <a:solidFill>
            <a:schemeClr val="accent5"/>
          </a:solidFill>
        </p:spPr>
        <p:txBody>
          <a:bodyPr anchor="ctr">
            <a:normAutofit/>
          </a:bodyPr>
          <a:lstStyle>
            <a:lvl1pPr marL="0" indent="0" algn="ctr">
              <a:buNone/>
              <a:defRPr sz="1600">
                <a:solidFill>
                  <a:schemeClr val="bg1"/>
                </a:solidFill>
              </a:defRPr>
            </a:lvl1pPr>
          </a:lstStyle>
          <a:p>
            <a:r>
              <a:rPr lang="en-US"/>
              <a:t>Click icon to add picture</a:t>
            </a:r>
          </a:p>
        </p:txBody>
      </p:sp>
    </p:spTree>
    <p:extLst>
      <p:ext uri="{BB962C8B-B14F-4D97-AF65-F5344CB8AC3E}">
        <p14:creationId xmlns:p14="http://schemas.microsoft.com/office/powerpoint/2010/main" val="3831171432"/>
      </p:ext>
    </p:extLst>
  </p:cSld>
  <p:clrMapOvr>
    <a:masterClrMapping/>
  </p:clrMapOvr>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up – Tex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976726F-98A2-3B2A-8513-9F5D25D63FDA}"/>
              </a:ext>
            </a:extLst>
          </p:cNvPr>
          <p:cNvSpPr>
            <a:spLocks noGrp="1"/>
          </p:cNvSpPr>
          <p:nvPr>
            <p:ph type="title"/>
          </p:nvPr>
        </p:nvSpPr>
        <p:spPr/>
        <p:txBody>
          <a:bodyPr/>
          <a:lstStyle/>
          <a:p>
            <a:r>
              <a:rPr lang="en-US"/>
              <a:t>Click to edit Master title style</a:t>
            </a:r>
          </a:p>
        </p:txBody>
      </p:sp>
      <p:sp>
        <p:nvSpPr>
          <p:cNvPr id="11" name="Content Placeholder 10">
            <a:extLst>
              <a:ext uri="{FF2B5EF4-FFF2-40B4-BE49-F238E27FC236}">
                <a16:creationId xmlns:a16="http://schemas.microsoft.com/office/drawing/2014/main" id="{4305D88A-09EA-3B57-EB7C-B55B88ECDD71}"/>
              </a:ext>
            </a:extLst>
          </p:cNvPr>
          <p:cNvSpPr>
            <a:spLocks noGrp="1"/>
          </p:cNvSpPr>
          <p:nvPr>
            <p:ph sz="quarter" idx="27"/>
          </p:nvPr>
        </p:nvSpPr>
        <p:spPr>
          <a:xfrm>
            <a:off x="563564" y="1447800"/>
            <a:ext cx="52324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0">
            <a:extLst>
              <a:ext uri="{FF2B5EF4-FFF2-40B4-BE49-F238E27FC236}">
                <a16:creationId xmlns:a16="http://schemas.microsoft.com/office/drawing/2014/main" id="{FBC8A560-6BB2-8E69-1177-186B4F67AA79}"/>
              </a:ext>
            </a:extLst>
          </p:cNvPr>
          <p:cNvSpPr>
            <a:spLocks noGrp="1"/>
          </p:cNvSpPr>
          <p:nvPr>
            <p:ph sz="quarter" idx="28"/>
          </p:nvPr>
        </p:nvSpPr>
        <p:spPr>
          <a:xfrm>
            <a:off x="6395340" y="1447800"/>
            <a:ext cx="52324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911473A-17B0-DC22-AF93-313A1AB1F62B}"/>
              </a:ext>
            </a:extLst>
          </p:cNvPr>
          <p:cNvSpPr>
            <a:spLocks noGrp="1"/>
          </p:cNvSpPr>
          <p:nvPr>
            <p:ph type="ftr" sz="quarter" idx="29"/>
          </p:nvPr>
        </p:nvSpPr>
        <p:spPr/>
        <p:txBody>
          <a:bodyPr/>
          <a:lstStyle/>
          <a:p>
            <a:endParaRPr lang="en-US"/>
          </a:p>
        </p:txBody>
      </p:sp>
      <p:sp>
        <p:nvSpPr>
          <p:cNvPr id="6" name="Slide Number Placeholder 5">
            <a:extLst>
              <a:ext uri="{FF2B5EF4-FFF2-40B4-BE49-F238E27FC236}">
                <a16:creationId xmlns:a16="http://schemas.microsoft.com/office/drawing/2014/main" id="{3768DCB6-7F43-BE1B-CA99-D130ED257F64}"/>
              </a:ext>
            </a:extLst>
          </p:cNvPr>
          <p:cNvSpPr>
            <a:spLocks noGrp="1"/>
          </p:cNvSpPr>
          <p:nvPr>
            <p:ph type="sldNum" sz="quarter" idx="30"/>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701082586"/>
      </p:ext>
    </p:extLst>
  </p:cSld>
  <p:clrMapOvr>
    <a:masterClrMapping/>
  </p:clrMapOvr>
  <p:transition>
    <p:fade/>
  </p:transition>
  <p:extLst>
    <p:ext uri="{DCECCB84-F9BA-43D5-87BE-67443E8EF086}">
      <p15:sldGuideLst xmlns:p15="http://schemas.microsoft.com/office/powerpoint/2012/main">
        <p15:guide id="4" pos="3660">
          <p15:clr>
            <a:srgbClr val="5ACBF0"/>
          </p15:clr>
        </p15:guide>
        <p15:guide id="5" pos="402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b="1" i="0" spc="-50" baseline="0">
                <a:solidFill>
                  <a:schemeClr val="tx1"/>
                </a:solidFill>
                <a:latin typeface="Segoe Sans Display Semibold" pitchFamily="2" charset="0"/>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b="0" i="0" spc="0" baseline="0">
                <a:solidFill>
                  <a:schemeClr val="tx1"/>
                </a:solidFill>
                <a:latin typeface="Segoe Sans Display" pitchFamily="2" charset="0"/>
                <a:cs typeface="Segoe Sans Display" pitchFamily="2"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728618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A5F37-E10A-1857-558E-39D5865E8FEB}"/>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1B193D7C-0ECD-475E-DF3D-1D43AE8FE13B}"/>
              </a:ext>
            </a:extLst>
          </p:cNvPr>
          <p:cNvSpPr>
            <a:spLocks noGrp="1"/>
          </p:cNvSpPr>
          <p:nvPr>
            <p:ph type="dt" sz="half" idx="10"/>
          </p:nvPr>
        </p:nvSpPr>
        <p:spPr/>
        <p:txBody>
          <a:bodyPr/>
          <a:lstStyle/>
          <a:p>
            <a:fld id="{92FB6F75-9719-4CAF-902B-951CCB2FE4BC}" type="datetimeFigureOut">
              <a:rPr lang="en-GB" smtClean="0"/>
              <a:t>15/05/2025</a:t>
            </a:fld>
            <a:endParaRPr lang="en-GB"/>
          </a:p>
        </p:txBody>
      </p:sp>
      <p:sp>
        <p:nvSpPr>
          <p:cNvPr id="4" name="Footer Placeholder 3">
            <a:extLst>
              <a:ext uri="{FF2B5EF4-FFF2-40B4-BE49-F238E27FC236}">
                <a16:creationId xmlns:a16="http://schemas.microsoft.com/office/drawing/2014/main" id="{38EF95C9-F24A-F596-D388-FB2D491D3A5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F5F15ED-4627-C1E1-0BD2-1274E9F5E266}"/>
              </a:ext>
            </a:extLst>
          </p:cNvPr>
          <p:cNvSpPr>
            <a:spLocks noGrp="1"/>
          </p:cNvSpPr>
          <p:nvPr>
            <p:ph type="sldNum" sz="quarter" idx="12"/>
          </p:nvPr>
        </p:nvSpPr>
        <p:spPr/>
        <p:txBody>
          <a:bodyPr/>
          <a:lstStyle/>
          <a:p>
            <a:fld id="{F29889FA-A085-4D8D-B485-D4895BB00615}" type="slidenum">
              <a:rPr lang="en-GB" smtClean="0"/>
              <a:t>‹#›</a:t>
            </a:fld>
            <a:endParaRPr lang="en-GB"/>
          </a:p>
        </p:txBody>
      </p:sp>
    </p:spTree>
    <p:extLst>
      <p:ext uri="{BB962C8B-B14F-4D97-AF65-F5344CB8AC3E}">
        <p14:creationId xmlns:p14="http://schemas.microsoft.com/office/powerpoint/2010/main" val="29942657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3B85D43-7CEA-BA35-B70B-970F9484BD39}"/>
              </a:ext>
            </a:extLst>
          </p:cNvPr>
          <p:cNvSpPr>
            <a:spLocks noGrp="1"/>
          </p:cNvSpPr>
          <p:nvPr>
            <p:ph type="dt" sz="half" idx="10"/>
          </p:nvPr>
        </p:nvSpPr>
        <p:spPr/>
        <p:txBody>
          <a:bodyPr/>
          <a:lstStyle/>
          <a:p>
            <a:fld id="{92FB6F75-9719-4CAF-902B-951CCB2FE4BC}" type="datetimeFigureOut">
              <a:rPr lang="en-GB" smtClean="0"/>
              <a:t>15/05/2025</a:t>
            </a:fld>
            <a:endParaRPr lang="en-GB"/>
          </a:p>
        </p:txBody>
      </p:sp>
      <p:sp>
        <p:nvSpPr>
          <p:cNvPr id="3" name="Footer Placeholder 2">
            <a:extLst>
              <a:ext uri="{FF2B5EF4-FFF2-40B4-BE49-F238E27FC236}">
                <a16:creationId xmlns:a16="http://schemas.microsoft.com/office/drawing/2014/main" id="{E8D37B55-D705-8A58-2176-551B73C7E6E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A864EB6-B2E3-4A67-CD6F-CDF6062648B5}"/>
              </a:ext>
            </a:extLst>
          </p:cNvPr>
          <p:cNvSpPr>
            <a:spLocks noGrp="1"/>
          </p:cNvSpPr>
          <p:nvPr>
            <p:ph type="sldNum" sz="quarter" idx="12"/>
          </p:nvPr>
        </p:nvSpPr>
        <p:spPr/>
        <p:txBody>
          <a:bodyPr/>
          <a:lstStyle/>
          <a:p>
            <a:fld id="{F29889FA-A085-4D8D-B485-D4895BB00615}" type="slidenum">
              <a:rPr lang="en-GB" smtClean="0"/>
              <a:t>‹#›</a:t>
            </a:fld>
            <a:endParaRPr lang="en-GB"/>
          </a:p>
        </p:txBody>
      </p:sp>
    </p:spTree>
    <p:extLst>
      <p:ext uri="{BB962C8B-B14F-4D97-AF65-F5344CB8AC3E}">
        <p14:creationId xmlns:p14="http://schemas.microsoft.com/office/powerpoint/2010/main" val="18383906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C8DABA-D389-CCB5-7164-D9677B45F77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4AE7CD82-9F23-3C5D-3251-A3BB9EB1723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B2F7DACD-04D6-FF22-8907-0D95846753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7D72EF4-D6AC-8FD5-194C-6F927FE3B30D}"/>
              </a:ext>
            </a:extLst>
          </p:cNvPr>
          <p:cNvSpPr>
            <a:spLocks noGrp="1"/>
          </p:cNvSpPr>
          <p:nvPr>
            <p:ph type="dt" sz="half" idx="10"/>
          </p:nvPr>
        </p:nvSpPr>
        <p:spPr/>
        <p:txBody>
          <a:bodyPr/>
          <a:lstStyle/>
          <a:p>
            <a:fld id="{92FB6F75-9719-4CAF-902B-951CCB2FE4BC}" type="datetimeFigureOut">
              <a:rPr lang="en-GB" smtClean="0"/>
              <a:t>15/05/2025</a:t>
            </a:fld>
            <a:endParaRPr lang="en-GB"/>
          </a:p>
        </p:txBody>
      </p:sp>
      <p:sp>
        <p:nvSpPr>
          <p:cNvPr id="6" name="Footer Placeholder 5">
            <a:extLst>
              <a:ext uri="{FF2B5EF4-FFF2-40B4-BE49-F238E27FC236}">
                <a16:creationId xmlns:a16="http://schemas.microsoft.com/office/drawing/2014/main" id="{CCDF255F-77F2-FDAE-6B98-A65C05B6642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C40894-652F-24B5-73EC-2AEC70164A87}"/>
              </a:ext>
            </a:extLst>
          </p:cNvPr>
          <p:cNvSpPr>
            <a:spLocks noGrp="1"/>
          </p:cNvSpPr>
          <p:nvPr>
            <p:ph type="sldNum" sz="quarter" idx="12"/>
          </p:nvPr>
        </p:nvSpPr>
        <p:spPr/>
        <p:txBody>
          <a:bodyPr/>
          <a:lstStyle/>
          <a:p>
            <a:fld id="{F29889FA-A085-4D8D-B485-D4895BB00615}" type="slidenum">
              <a:rPr lang="en-GB" smtClean="0"/>
              <a:t>‹#›</a:t>
            </a:fld>
            <a:endParaRPr lang="en-GB"/>
          </a:p>
        </p:txBody>
      </p:sp>
    </p:spTree>
    <p:extLst>
      <p:ext uri="{BB962C8B-B14F-4D97-AF65-F5344CB8AC3E}">
        <p14:creationId xmlns:p14="http://schemas.microsoft.com/office/powerpoint/2010/main" val="30460170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88F90-CEEC-954D-DB80-7A6AE02C2A74}"/>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368D44F4-96EB-80AA-D172-6881BDBB70A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77EE47B-ED67-2B80-F70C-8628D13FA5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5D50A11-BA93-E1B1-D02C-99759E58716D}"/>
              </a:ext>
            </a:extLst>
          </p:cNvPr>
          <p:cNvSpPr>
            <a:spLocks noGrp="1"/>
          </p:cNvSpPr>
          <p:nvPr>
            <p:ph type="dt" sz="half" idx="10"/>
          </p:nvPr>
        </p:nvSpPr>
        <p:spPr/>
        <p:txBody>
          <a:bodyPr/>
          <a:lstStyle/>
          <a:p>
            <a:fld id="{92FB6F75-9719-4CAF-902B-951CCB2FE4BC}" type="datetimeFigureOut">
              <a:rPr lang="en-GB" smtClean="0"/>
              <a:t>15/05/2025</a:t>
            </a:fld>
            <a:endParaRPr lang="en-GB"/>
          </a:p>
        </p:txBody>
      </p:sp>
      <p:sp>
        <p:nvSpPr>
          <p:cNvPr id="6" name="Footer Placeholder 5">
            <a:extLst>
              <a:ext uri="{FF2B5EF4-FFF2-40B4-BE49-F238E27FC236}">
                <a16:creationId xmlns:a16="http://schemas.microsoft.com/office/drawing/2014/main" id="{EFFDBE71-902F-1A8B-BFC0-A8A8CE5B04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43730F2-F718-9CE2-3012-8758EDDACD76}"/>
              </a:ext>
            </a:extLst>
          </p:cNvPr>
          <p:cNvSpPr>
            <a:spLocks noGrp="1"/>
          </p:cNvSpPr>
          <p:nvPr>
            <p:ph type="sldNum" sz="quarter" idx="12"/>
          </p:nvPr>
        </p:nvSpPr>
        <p:spPr/>
        <p:txBody>
          <a:bodyPr/>
          <a:lstStyle/>
          <a:p>
            <a:fld id="{F29889FA-A085-4D8D-B485-D4895BB00615}" type="slidenum">
              <a:rPr lang="en-GB" smtClean="0"/>
              <a:t>‹#›</a:t>
            </a:fld>
            <a:endParaRPr lang="en-GB"/>
          </a:p>
        </p:txBody>
      </p:sp>
    </p:spTree>
    <p:extLst>
      <p:ext uri="{BB962C8B-B14F-4D97-AF65-F5344CB8AC3E}">
        <p14:creationId xmlns:p14="http://schemas.microsoft.com/office/powerpoint/2010/main" val="4053003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2.xml"/><Relationship Id="rId9"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slideLayout" Target="../slideLayouts/slideLayout53.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42" Type="http://schemas.openxmlformats.org/officeDocument/2006/relationships/slideLayout" Target="../slideLayouts/slideLayout56.xml"/><Relationship Id="rId47" Type="http://schemas.openxmlformats.org/officeDocument/2006/relationships/image" Target="../media/image5.png"/><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image" Target="../media/image11.png"/><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theme" Target="../theme/theme3.xml"/><Relationship Id="rId20" Type="http://schemas.openxmlformats.org/officeDocument/2006/relationships/slideLayout" Target="../slideLayouts/slideLayout34.xml"/><Relationship Id="rId41"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59A8EA-A99F-C97C-374F-AEAB847DAC5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E4CD0DBB-79E0-8C77-C600-7F5525CAE16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389790E5-FC01-93EF-AC20-7A1C63F9646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2FB6F75-9719-4CAF-902B-951CCB2FE4BC}" type="datetimeFigureOut">
              <a:rPr lang="en-GB" smtClean="0"/>
              <a:t>15/05/2025</a:t>
            </a:fld>
            <a:endParaRPr lang="en-GB"/>
          </a:p>
        </p:txBody>
      </p:sp>
      <p:sp>
        <p:nvSpPr>
          <p:cNvPr id="5" name="Footer Placeholder 4">
            <a:extLst>
              <a:ext uri="{FF2B5EF4-FFF2-40B4-BE49-F238E27FC236}">
                <a16:creationId xmlns:a16="http://schemas.microsoft.com/office/drawing/2014/main" id="{144E945E-E4BC-E7AD-90F1-885FE45E94F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F786AE66-E596-C03C-AF91-140D598B761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29889FA-A085-4D8D-B485-D4895BB00615}" type="slidenum">
              <a:rPr lang="en-GB" smtClean="0"/>
              <a:t>‹#›</a:t>
            </a:fld>
            <a:endParaRPr lang="en-GB"/>
          </a:p>
        </p:txBody>
      </p:sp>
    </p:spTree>
    <p:extLst>
      <p:ext uri="{BB962C8B-B14F-4D97-AF65-F5344CB8AC3E}">
        <p14:creationId xmlns:p14="http://schemas.microsoft.com/office/powerpoint/2010/main" val="24474580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08285D-D94C-6929-B5F5-3E8471C0E901}"/>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32" imgH="530" progId="TCLayout.ActiveDocument.1">
                  <p:embed/>
                </p:oleObj>
              </mc:Choice>
              <mc:Fallback>
                <p:oleObj name="think-cell Slide" r:id="rId6" imgW="532" imgH="530" progId="TCLayout.ActiveDocument.1">
                  <p:embed/>
                  <p:pic>
                    <p:nvPicPr>
                      <p:cNvPr id="6" name="think-cell data - do not delete" hidden="1">
                        <a:extLst>
                          <a:ext uri="{FF2B5EF4-FFF2-40B4-BE49-F238E27FC236}">
                            <a16:creationId xmlns:a16="http://schemas.microsoft.com/office/drawing/2014/main" id="{3908285D-D94C-6929-B5F5-3E8471C0E9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8017935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47">
            <a:lum/>
          </a:blip>
          <a:srcRect/>
          <a:stretch>
            <a:fillRect/>
          </a:stretch>
        </a:blipFill>
        <a:effectLst/>
      </p:bgPr>
    </p:bg>
    <p:spTree>
      <p:nvGrpSpPr>
        <p:cNvPr id="1" name=""/>
        <p:cNvGrpSpPr/>
        <p:nvPr/>
      </p:nvGrpSpPr>
      <p:grpSpPr>
        <a:xfrm>
          <a:off x="0" y="0"/>
          <a:ext cx="0" cy="0"/>
          <a:chOff x="0" y="0"/>
          <a:chExt cx="0" cy="0"/>
        </a:xfrm>
      </p:grpSpPr>
      <p:sp>
        <p:nvSpPr>
          <p:cNvPr id="48" name="Title Placeholder 1">
            <a:extLst>
              <a:ext uri="{FF2B5EF4-FFF2-40B4-BE49-F238E27FC236}">
                <a16:creationId xmlns:a16="http://schemas.microsoft.com/office/drawing/2014/main" id="{487C9856-BACC-AD78-816C-81CEAC671A73}"/>
              </a:ext>
            </a:extLst>
          </p:cNvPr>
          <p:cNvSpPr>
            <a:spLocks noGrp="1"/>
          </p:cNvSpPr>
          <p:nvPr>
            <p:ph type="title"/>
          </p:nvPr>
        </p:nvSpPr>
        <p:spPr>
          <a:xfrm>
            <a:off x="407458" y="381001"/>
            <a:ext cx="11425690" cy="492443"/>
          </a:xfrm>
          <a:prstGeom prst="rect">
            <a:avLst/>
          </a:prstGeom>
        </p:spPr>
        <p:txBody>
          <a:bodyPr vert="horz" wrap="square" lIns="0" tIns="0" rIns="0" bIns="0" rtlCol="0" anchor="t">
            <a:spAutoFit/>
          </a:body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endParaRPr lang="en-US"/>
          </a:p>
        </p:txBody>
      </p:sp>
      <p:sp>
        <p:nvSpPr>
          <p:cNvPr id="87" name="Rectangle 86">
            <a:extLst>
              <a:ext uri="{FF2B5EF4-FFF2-40B4-BE49-F238E27FC236}">
                <a16:creationId xmlns:a16="http://schemas.microsoft.com/office/drawing/2014/main" id="{77AAF263-E53D-30A0-CF27-DFACA9CA8E2D}"/>
              </a:ext>
            </a:extLst>
          </p:cNvPr>
          <p:cNvSpPr>
            <a:spLocks/>
          </p:cNvSpPr>
          <p:nvPr/>
        </p:nvSpPr>
        <p:spPr bwMode="auto">
          <a:xfrm>
            <a:off x="-13834314" y="-8382000"/>
            <a:ext cx="39860629" cy="236220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58521" rIns="73152" bIns="58521" numCol="1" spcCol="0" rtlCol="0" fromWordArt="0" anchor="t" anchorCtr="0" forceAA="0" compatLnSpc="1">
            <a:prstTxWarp prst="textNoShape">
              <a:avLst/>
            </a:prstTxWarp>
            <a:noAutofit/>
          </a:bodyPr>
          <a:lstStyle/>
          <a:p>
            <a:pPr algn="l" defTabSz="373076" fontAlgn="base">
              <a:spcBef>
                <a:spcPct val="0"/>
              </a:spcBef>
              <a:spcAft>
                <a:spcPct val="0"/>
              </a:spcAft>
            </a:pPr>
            <a:endParaRPr lang="en-GB" sz="80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79FCC80A-B290-950D-AC6F-6F937B76A017}"/>
              </a:ext>
            </a:extLst>
          </p:cNvPr>
          <p:cNvSpPr>
            <a:spLocks/>
          </p:cNvSpPr>
          <p:nvPr userDrawn="1"/>
        </p:nvSpPr>
        <p:spPr bwMode="auto">
          <a:xfrm>
            <a:off x="-13834314" y="-8382000"/>
            <a:ext cx="39860629" cy="236220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58521" rIns="73152" bIns="58521" numCol="1" spcCol="0" rtlCol="0" fromWordArt="0" anchor="t" anchorCtr="0" forceAA="0" compatLnSpc="1">
            <a:prstTxWarp prst="textNoShape">
              <a:avLst/>
            </a:prstTxWarp>
            <a:noAutofit/>
          </a:bodyPr>
          <a:lstStyle/>
          <a:p>
            <a:pPr algn="l" defTabSz="373076" fontAlgn="base">
              <a:spcBef>
                <a:spcPct val="0"/>
              </a:spcBef>
              <a:spcAft>
                <a:spcPct val="0"/>
              </a:spcAft>
            </a:pPr>
            <a:endParaRPr lang="en-GB" sz="801">
              <a:solidFill>
                <a:srgbClr val="FFFFFF"/>
              </a:solidFill>
              <a:ea typeface="Segoe UI" pitchFamily="34" charset="0"/>
              <a:cs typeface="Segoe UI" pitchFamily="34" charset="0"/>
            </a:endParaRPr>
          </a:p>
        </p:txBody>
      </p:sp>
      <p:pic>
        <p:nvPicPr>
          <p:cNvPr id="88" name="Picture 87" descr="A blue and white gradient&#10;&#10;Description automatically generated" hidden="1">
            <a:extLst>
              <a:ext uri="{FF2B5EF4-FFF2-40B4-BE49-F238E27FC236}">
                <a16:creationId xmlns:a16="http://schemas.microsoft.com/office/drawing/2014/main" id="{184255ED-A5FC-0393-B0B3-097DF502165A}"/>
              </a:ext>
            </a:extLst>
          </p:cNvPr>
          <p:cNvPicPr>
            <a:picLocks noChangeAspect="1"/>
          </p:cNvPicPr>
          <p:nvPr userDrawn="1"/>
        </p:nvPicPr>
        <p:blipFill>
          <a:blip r:embed="rId48">
            <a:extLst>
              <a:ext uri="{28A0092B-C50C-407E-A947-70E740481C1C}">
                <a14:useLocalDpi xmlns:a14="http://schemas.microsoft.com/office/drawing/2010/main" val="0"/>
              </a:ext>
            </a:extLst>
          </a:blip>
          <a:srcRect/>
          <a:stretch>
            <a:fillRect/>
          </a:stretch>
        </p:blipFill>
        <p:spPr>
          <a:xfrm>
            <a:off x="0" y="0"/>
            <a:ext cx="12192000" cy="6858001"/>
          </a:xfrm>
          <a:prstGeom prst="rect">
            <a:avLst/>
          </a:prstGeom>
        </p:spPr>
      </p:pic>
    </p:spTree>
    <p:extLst>
      <p:ext uri="{BB962C8B-B14F-4D97-AF65-F5344CB8AC3E}">
        <p14:creationId xmlns:p14="http://schemas.microsoft.com/office/powerpoint/2010/main" val="3159872343"/>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0" r:id="rId36"/>
    <p:sldLayoutId id="2147483701" r:id="rId37"/>
    <p:sldLayoutId id="2147483702" r:id="rId38"/>
    <p:sldLayoutId id="2147483703" r:id="rId39"/>
    <p:sldLayoutId id="2147483704" r:id="rId40"/>
    <p:sldLayoutId id="2147483705" r:id="rId41"/>
    <p:sldLayoutId id="2147483706" r:id="rId42"/>
    <p:sldLayoutId id="2147483707" r:id="rId43"/>
    <p:sldLayoutId id="2147483708" r:id="rId44"/>
    <p:sldLayoutId id="2147483709"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373183" rtl="0" eaLnBrk="1" latinLnBrk="0" hangingPunct="1">
        <a:lnSpc>
          <a:spcPct val="100000"/>
        </a:lnSpc>
        <a:spcBef>
          <a:spcPct val="0"/>
        </a:spcBef>
        <a:buNone/>
        <a:defRPr lang="en-US" sz="3200" b="0" kern="1200" cap="none" spc="-21" baseline="0" dirty="0">
          <a:ln w="3175">
            <a:noFill/>
          </a:ln>
          <a:gradFill>
            <a:gsLst>
              <a:gs pos="100000">
                <a:srgbClr val="0078D4"/>
              </a:gs>
              <a:gs pos="0">
                <a:srgbClr val="2A446F"/>
              </a:gs>
            </a:gsLst>
            <a:lin ang="2700000" scaled="0"/>
          </a:gradFill>
          <a:effectLst/>
          <a:latin typeface="+mj-lt"/>
          <a:ea typeface="+mn-ea"/>
          <a:cs typeface="Segoe UI" pitchFamily="34" charset="0"/>
        </a:defRPr>
      </a:lvl1pPr>
    </p:titleStyle>
    <p:bodyStyle>
      <a:lvl1pPr marL="91463" marR="0" indent="-91463"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120" kern="1200" spc="0" baseline="0" smtClean="0">
          <a:solidFill>
            <a:schemeClr val="tx1"/>
          </a:solidFill>
          <a:latin typeface="+mn-lt"/>
          <a:ea typeface="+mn-ea"/>
          <a:cs typeface="Segoe UI" panose="020B0502040204020203" pitchFamily="34" charset="0"/>
        </a:defRPr>
      </a:lvl1pPr>
      <a:lvl2pPr marL="182922" marR="0" indent="-91463"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801" kern="1200" spc="0" baseline="0" smtClean="0">
          <a:solidFill>
            <a:schemeClr val="tx1"/>
          </a:solidFill>
          <a:latin typeface="+mn-lt"/>
          <a:ea typeface="+mn-ea"/>
          <a:cs typeface="+mn-cs"/>
        </a:defRPr>
      </a:lvl2pPr>
      <a:lvl3pPr marL="262952" marR="0" indent="-80028"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641" kern="1200" spc="0" baseline="0" smtClean="0">
          <a:solidFill>
            <a:schemeClr val="tx1"/>
          </a:solidFill>
          <a:latin typeface="+mn-lt"/>
          <a:ea typeface="+mn-ea"/>
          <a:cs typeface="+mn-cs"/>
        </a:defRPr>
      </a:lvl3pPr>
      <a:lvl4pPr marL="337264" marR="0" indent="-72408"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560" kern="1200" spc="0" baseline="0" smtClean="0">
          <a:solidFill>
            <a:schemeClr val="tx1"/>
          </a:solidFill>
          <a:latin typeface="+mn-lt"/>
          <a:ea typeface="+mn-ea"/>
          <a:cs typeface="+mn-cs"/>
        </a:defRPr>
      </a:lvl4pPr>
      <a:lvl5pPr marL="409670" marR="0" indent="-67325"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560" kern="1200" spc="0" baseline="0" dirty="0">
          <a:solidFill>
            <a:schemeClr val="tx1"/>
          </a:solidFill>
          <a:latin typeface="+mn-lt"/>
          <a:ea typeface="+mn-ea"/>
          <a:cs typeface="+mn-cs"/>
        </a:defRPr>
      </a:lvl5pPr>
      <a:lvl6pPr marL="1026255"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6pPr>
      <a:lvl7pPr marL="1212848"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7pPr>
      <a:lvl8pPr marL="1399438"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8pPr>
      <a:lvl9pPr marL="1586031"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9pPr>
    </p:bodyStyle>
    <p:otherStyle>
      <a:defPPr>
        <a:defRPr lang="en-US"/>
      </a:defPPr>
      <a:lvl1pPr marL="0" algn="l" defTabSz="373183" rtl="0" eaLnBrk="1" latinLnBrk="0" hangingPunct="1">
        <a:defRPr sz="721" kern="1200">
          <a:solidFill>
            <a:schemeClr val="tx1"/>
          </a:solidFill>
          <a:latin typeface="+mn-lt"/>
          <a:ea typeface="+mn-ea"/>
          <a:cs typeface="+mn-cs"/>
        </a:defRPr>
      </a:lvl1pPr>
      <a:lvl2pPr marL="186593" algn="l" defTabSz="373183" rtl="0" eaLnBrk="1" latinLnBrk="0" hangingPunct="1">
        <a:defRPr sz="721" kern="1200">
          <a:solidFill>
            <a:schemeClr val="tx1"/>
          </a:solidFill>
          <a:latin typeface="+mn-lt"/>
          <a:ea typeface="+mn-ea"/>
          <a:cs typeface="+mn-cs"/>
        </a:defRPr>
      </a:lvl2pPr>
      <a:lvl3pPr marL="373183" algn="l" defTabSz="373183" rtl="0" eaLnBrk="1" latinLnBrk="0" hangingPunct="1">
        <a:defRPr sz="721" kern="1200">
          <a:solidFill>
            <a:schemeClr val="tx1"/>
          </a:solidFill>
          <a:latin typeface="+mn-lt"/>
          <a:ea typeface="+mn-ea"/>
          <a:cs typeface="+mn-cs"/>
        </a:defRPr>
      </a:lvl3pPr>
      <a:lvl4pPr marL="559775" algn="l" defTabSz="373183" rtl="0" eaLnBrk="1" latinLnBrk="0" hangingPunct="1">
        <a:defRPr sz="721" kern="1200">
          <a:solidFill>
            <a:schemeClr val="tx1"/>
          </a:solidFill>
          <a:latin typeface="+mn-lt"/>
          <a:ea typeface="+mn-ea"/>
          <a:cs typeface="+mn-cs"/>
        </a:defRPr>
      </a:lvl4pPr>
      <a:lvl5pPr marL="746367" algn="l" defTabSz="373183" rtl="0" eaLnBrk="1" latinLnBrk="0" hangingPunct="1">
        <a:defRPr sz="721" kern="1200">
          <a:solidFill>
            <a:schemeClr val="tx1"/>
          </a:solidFill>
          <a:latin typeface="+mn-lt"/>
          <a:ea typeface="+mn-ea"/>
          <a:cs typeface="+mn-cs"/>
        </a:defRPr>
      </a:lvl5pPr>
      <a:lvl6pPr marL="932960" algn="l" defTabSz="373183" rtl="0" eaLnBrk="1" latinLnBrk="0" hangingPunct="1">
        <a:defRPr sz="721" kern="1200">
          <a:solidFill>
            <a:schemeClr val="tx1"/>
          </a:solidFill>
          <a:latin typeface="+mn-lt"/>
          <a:ea typeface="+mn-ea"/>
          <a:cs typeface="+mn-cs"/>
        </a:defRPr>
      </a:lvl6pPr>
      <a:lvl7pPr marL="1119551" algn="l" defTabSz="373183" rtl="0" eaLnBrk="1" latinLnBrk="0" hangingPunct="1">
        <a:defRPr sz="721" kern="1200">
          <a:solidFill>
            <a:schemeClr val="tx1"/>
          </a:solidFill>
          <a:latin typeface="+mn-lt"/>
          <a:ea typeface="+mn-ea"/>
          <a:cs typeface="+mn-cs"/>
        </a:defRPr>
      </a:lvl7pPr>
      <a:lvl8pPr marL="1306143" algn="l" defTabSz="373183" rtl="0" eaLnBrk="1" latinLnBrk="0" hangingPunct="1">
        <a:defRPr sz="721" kern="1200">
          <a:solidFill>
            <a:schemeClr val="tx1"/>
          </a:solidFill>
          <a:latin typeface="+mn-lt"/>
          <a:ea typeface="+mn-ea"/>
          <a:cs typeface="+mn-cs"/>
        </a:defRPr>
      </a:lvl8pPr>
      <a:lvl9pPr marL="1492735" algn="l" defTabSz="373183" rtl="0" eaLnBrk="1" latinLnBrk="0" hangingPunct="1">
        <a:defRPr sz="721" kern="1200">
          <a:solidFill>
            <a:schemeClr val="tx1"/>
          </a:solidFill>
          <a:latin typeface="+mn-lt"/>
          <a:ea typeface="+mn-ea"/>
          <a:cs typeface="+mn-cs"/>
        </a:defRPr>
      </a:lvl9pPr>
    </p:otherStyle>
  </p:txStyles>
  <p:extLst>
    <p:ext uri="{27BBF7A9-308A-43DC-89C8-2F10F3537804}">
      <p15:sldGuideLst xmlns:p15="http://schemas.microsoft.com/office/powerpoint/2012/main">
        <p15:guide id="16">
          <p15:clr>
            <a:srgbClr val="E7E6E6"/>
          </p15:clr>
        </p15:guide>
        <p15:guide id="17" pos="11510">
          <p15:clr>
            <a:srgbClr val="E7E6E6"/>
          </p15:clr>
        </p15:guide>
        <p15:guide id="18" pos="385">
          <p15:clr>
            <a:srgbClr val="E7E6E6"/>
          </p15:clr>
        </p15:guide>
        <p15:guide id="19" pos="3903">
          <p15:clr>
            <a:srgbClr val="E7E6E6"/>
          </p15:clr>
        </p15:guide>
        <p15:guide id="20" pos="3989">
          <p15:clr>
            <a:srgbClr val="E7E6E6"/>
          </p15:clr>
        </p15:guide>
        <p15:guide id="21" pos="7530">
          <p15:clr>
            <a:srgbClr val="E7E6E6"/>
          </p15:clr>
        </p15:guide>
        <p15:guide id="22" pos="7616">
          <p15:clr>
            <a:srgbClr val="E7E6E6"/>
          </p15:clr>
        </p15:guide>
        <p15:guide id="23" pos="11157">
          <p15:clr>
            <a:srgbClr val="E7E6E6"/>
          </p15:clr>
        </p15:guide>
        <p15:guide id="24" orient="horz">
          <p15:clr>
            <a:srgbClr val="E7E6E6"/>
          </p15:clr>
        </p15:guide>
        <p15:guide id="25" orient="horz" pos="6480">
          <p15:clr>
            <a:srgbClr val="E7E6E6"/>
          </p15:clr>
        </p15:guide>
        <p15:guide id="26" orient="horz" pos="864">
          <p15:clr>
            <a:srgbClr val="E7E6E6"/>
          </p15:clr>
        </p15:guide>
        <p15:guide id="27" orient="horz" pos="3342">
          <p15:clr>
            <a:srgbClr val="E7E6E6"/>
          </p15:clr>
        </p15:guide>
        <p15:guide id="28" orient="horz" pos="3456">
          <p15:clr>
            <a:srgbClr val="E7E6E6"/>
          </p15:clr>
        </p15:guide>
        <p15:guide id="29" orient="horz" pos="5940">
          <p15:clr>
            <a:srgbClr val="E7E6E6"/>
          </p15:clr>
        </p15:guide>
        <p15:guide id="30" orient="horz" pos="360">
          <p15:clr>
            <a:srgbClr val="E7E6E6"/>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svg"/><Relationship Id="rId7" Type="http://schemas.openxmlformats.org/officeDocument/2006/relationships/image" Target="../media/image40.svg"/><Relationship Id="rId2" Type="http://schemas.openxmlformats.org/officeDocument/2006/relationships/image" Target="../media/image35.png"/><Relationship Id="rId1" Type="http://schemas.openxmlformats.org/officeDocument/2006/relationships/slideLayout" Target="../slideLayouts/slideLayout34.xml"/><Relationship Id="rId6" Type="http://schemas.openxmlformats.org/officeDocument/2006/relationships/image" Target="../media/image39.png"/><Relationship Id="rId5" Type="http://schemas.openxmlformats.org/officeDocument/2006/relationships/image" Target="../media/image38.svg"/><Relationship Id="rId10" Type="http://schemas.openxmlformats.org/officeDocument/2006/relationships/image" Target="../media/image33.png"/><Relationship Id="rId4" Type="http://schemas.openxmlformats.org/officeDocument/2006/relationships/image" Target="../media/image37.png"/><Relationship Id="rId9" Type="http://schemas.openxmlformats.org/officeDocument/2006/relationships/image" Target="../media/image4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F69F88-BDE4-D9E2-C2A5-B22E45B0AA55}"/>
            </a:ext>
          </a:extLst>
        </p:cNvPr>
        <p:cNvGrpSpPr/>
        <p:nvPr/>
      </p:nvGrpSpPr>
      <p:grpSpPr>
        <a:xfrm>
          <a:off x="0" y="0"/>
          <a:ext cx="0" cy="0"/>
          <a:chOff x="0" y="0"/>
          <a:chExt cx="0" cy="0"/>
        </a:xfrm>
      </p:grpSpPr>
      <p:grpSp>
        <p:nvGrpSpPr>
          <p:cNvPr id="16" name="Group 15">
            <a:extLst>
              <a:ext uri="{FF2B5EF4-FFF2-40B4-BE49-F238E27FC236}">
                <a16:creationId xmlns:a16="http://schemas.microsoft.com/office/drawing/2014/main" id="{3AA1B039-38A4-0833-6749-52DC46A75B81}"/>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3" name="Picture 2" descr="A blue and pink background&#10;&#10;Description automatically generated">
              <a:extLst>
                <a:ext uri="{FF2B5EF4-FFF2-40B4-BE49-F238E27FC236}">
                  <a16:creationId xmlns:a16="http://schemas.microsoft.com/office/drawing/2014/main" id="{CC541C14-E4F0-EBDD-6A5F-9FEC1588536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B13D29F8-BF01-F325-7F27-4BA80A654F69}"/>
                </a:ext>
              </a:extLst>
            </p:cNvPr>
            <p:cNvSpPr/>
            <p:nvPr/>
          </p:nvSpPr>
          <p:spPr bwMode="auto">
            <a:xfrm>
              <a:off x="0" y="0"/>
              <a:ext cx="12192000" cy="6858000"/>
            </a:xfrm>
            <a:prstGeom prst="rect">
              <a:avLst/>
            </a:prstGeom>
            <a:gradFill flip="none" rotWithShape="1">
              <a:gsLst>
                <a:gs pos="83000">
                  <a:schemeClr val="bg1">
                    <a:alpha val="0"/>
                  </a:schemeClr>
                </a:gs>
                <a:gs pos="35000">
                  <a:schemeClr val="bg1">
                    <a:alpha val="88000"/>
                  </a:schemeClr>
                </a:gs>
              </a:gsLst>
              <a:lin ang="17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11" name="Picture 10">
            <a:extLst>
              <a:ext uri="{FF2B5EF4-FFF2-40B4-BE49-F238E27FC236}">
                <a16:creationId xmlns:a16="http://schemas.microsoft.com/office/drawing/2014/main" id="{985D868B-1935-C0A4-3B81-81D66E9ABE89}"/>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096000" y="1227772"/>
            <a:ext cx="5069840" cy="5069840"/>
          </a:xfrm>
          <a:prstGeom prst="rect">
            <a:avLst/>
          </a:prstGeom>
          <a:noFill/>
        </p:spPr>
      </p:pic>
      <p:sp>
        <p:nvSpPr>
          <p:cNvPr id="14" name="Title 1">
            <a:extLst>
              <a:ext uri="{FF2B5EF4-FFF2-40B4-BE49-F238E27FC236}">
                <a16:creationId xmlns:a16="http://schemas.microsoft.com/office/drawing/2014/main" id="{F07B7C73-3327-6308-1EBB-13FB776EE1E5}"/>
              </a:ext>
            </a:extLst>
          </p:cNvPr>
          <p:cNvSpPr txBox="1">
            <a:spLocks/>
          </p:cNvSpPr>
          <p:nvPr/>
        </p:nvSpPr>
        <p:spPr>
          <a:xfrm>
            <a:off x="671089" y="921067"/>
            <a:ext cx="5424911" cy="5683249"/>
          </a:xfrm>
          <a:prstGeom prst="rect">
            <a:avLst/>
          </a:prstGeom>
        </p:spPr>
        <p:txBody>
          <a:bodyPr vert="horz" wrap="square" lIns="0" tIns="0" rIns="0" bIns="0" rtlCol="0" anchor="ctr">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21" normalizeH="0" baseline="0" noProof="0">
                <a:ln w="3175">
                  <a:noFill/>
                </a:ln>
                <a:gradFill>
                  <a:gsLst>
                    <a:gs pos="100000">
                      <a:srgbClr val="0078D4">
                        <a:lumMod val="60000"/>
                        <a:lumOff val="40000"/>
                      </a:srgbClr>
                    </a:gs>
                    <a:gs pos="0">
                      <a:srgbClr val="2A446F"/>
                    </a:gs>
                  </a:gsLst>
                  <a:lin ang="2700000" scaled="0"/>
                </a:gradFill>
                <a:effectLst/>
                <a:uLnTx/>
                <a:uFillTx/>
                <a:latin typeface="Segoe UI Semibold"/>
                <a:ea typeface="+mn-ea"/>
                <a:cs typeface="Segoe UI" pitchFamily="34" charset="0"/>
              </a:rPr>
              <a:t>Module 5 – Governance Domains </a:t>
            </a:r>
          </a:p>
        </p:txBody>
      </p:sp>
    </p:spTree>
    <p:extLst>
      <p:ext uri="{BB962C8B-B14F-4D97-AF65-F5344CB8AC3E}">
        <p14:creationId xmlns:p14="http://schemas.microsoft.com/office/powerpoint/2010/main" val="2442046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D9907-AB53-5446-0891-45A1A42E02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D76B5A-8DAC-5F31-4784-E4C59B37ED35}"/>
              </a:ext>
            </a:extLst>
          </p:cNvPr>
          <p:cNvSpPr>
            <a:spLocks noGrp="1"/>
          </p:cNvSpPr>
          <p:nvPr>
            <p:ph type="title"/>
          </p:nvPr>
        </p:nvSpPr>
        <p:spPr>
          <a:xfrm>
            <a:off x="588263" y="457200"/>
            <a:ext cx="11018520" cy="553998"/>
          </a:xfrm>
        </p:spPr>
        <p:txBody>
          <a:bodyPr wrap="square" anchor="ctr">
            <a:normAutofit/>
          </a:bodyPr>
          <a:lstStyle/>
          <a:p>
            <a:r>
              <a:rPr lang="en-GB" dirty="0"/>
              <a:t>Unified </a:t>
            </a:r>
            <a:r>
              <a:rPr lang="en-GB" dirty="0" err="1"/>
              <a:t>Catalog</a:t>
            </a:r>
            <a:endParaRPr lang="en-GB" dirty="0"/>
          </a:p>
        </p:txBody>
      </p:sp>
      <p:graphicFrame>
        <p:nvGraphicFramePr>
          <p:cNvPr id="5" name="Text Placeholder 2">
            <a:extLst>
              <a:ext uri="{FF2B5EF4-FFF2-40B4-BE49-F238E27FC236}">
                <a16:creationId xmlns:a16="http://schemas.microsoft.com/office/drawing/2014/main" id="{111896A4-C546-889E-2DA3-9EE3087B0AE1}"/>
              </a:ext>
            </a:extLst>
          </p:cNvPr>
          <p:cNvGraphicFramePr>
            <a:graphicFrameLocks noGrp="1"/>
          </p:cNvGraphicFramePr>
          <p:nvPr>
            <p:ph sz="quarter" idx="4294967295"/>
          </p:nvPr>
        </p:nvGraphicFramePr>
        <p:xfrm>
          <a:off x="588263" y="1201698"/>
          <a:ext cx="11018520" cy="43525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0753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6AD547-8D24-72E2-F0B3-0E689102BD01}"/>
            </a:ext>
          </a:extLst>
        </p:cNvPr>
        <p:cNvGrpSpPr/>
        <p:nvPr/>
      </p:nvGrpSpPr>
      <p:grpSpPr>
        <a:xfrm>
          <a:off x="0" y="0"/>
          <a:ext cx="0" cy="0"/>
          <a:chOff x="0" y="0"/>
          <a:chExt cx="0" cy="0"/>
        </a:xfrm>
      </p:grpSpPr>
      <p:sp>
        <p:nvSpPr>
          <p:cNvPr id="4" name="Rounded Rectangle 1">
            <a:extLst>
              <a:ext uri="{FF2B5EF4-FFF2-40B4-BE49-F238E27FC236}">
                <a16:creationId xmlns:a16="http://schemas.microsoft.com/office/drawing/2014/main" id="{58573531-9408-5E59-DC11-3877CBA0515D}"/>
              </a:ext>
            </a:extLst>
          </p:cNvPr>
          <p:cNvSpPr/>
          <p:nvPr/>
        </p:nvSpPr>
        <p:spPr>
          <a:xfrm rot="10800000">
            <a:off x="470960" y="1893468"/>
            <a:ext cx="7004730" cy="4258538"/>
          </a:xfrm>
          <a:prstGeom prst="roundRect">
            <a:avLst>
              <a:gd name="adj" fmla="val 2795"/>
            </a:avLst>
          </a:prstGeom>
          <a:solidFill>
            <a:schemeClr val="bg1"/>
          </a:solidFill>
          <a:ln w="19050" cap="rnd">
            <a:noFill/>
          </a:ln>
          <a:effectLst>
            <a:outerShdw blurRad="254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grpSp>
        <p:nvGrpSpPr>
          <p:cNvPr id="5" name="Group 4">
            <a:extLst>
              <a:ext uri="{FF2B5EF4-FFF2-40B4-BE49-F238E27FC236}">
                <a16:creationId xmlns:a16="http://schemas.microsoft.com/office/drawing/2014/main" id="{F38CC4F0-0144-1BC3-0A65-0E2A92DE9E2B}"/>
              </a:ext>
            </a:extLst>
          </p:cNvPr>
          <p:cNvGrpSpPr/>
          <p:nvPr/>
        </p:nvGrpSpPr>
        <p:grpSpPr>
          <a:xfrm>
            <a:off x="6454975" y="1691383"/>
            <a:ext cx="5133744" cy="4815316"/>
            <a:chOff x="6494693" y="1498405"/>
            <a:chExt cx="5428900" cy="5210379"/>
          </a:xfrm>
        </p:grpSpPr>
        <p:sp>
          <p:nvSpPr>
            <p:cNvPr id="6" name="Rectangle: Rounded Corners 5">
              <a:extLst>
                <a:ext uri="{FF2B5EF4-FFF2-40B4-BE49-F238E27FC236}">
                  <a16:creationId xmlns:a16="http://schemas.microsoft.com/office/drawing/2014/main" id="{FA87E582-52E5-A134-4EDC-73EDD363ABDF}"/>
                </a:ext>
              </a:extLst>
            </p:cNvPr>
            <p:cNvSpPr/>
            <p:nvPr/>
          </p:nvSpPr>
          <p:spPr>
            <a:xfrm>
              <a:off x="6494693" y="1498405"/>
              <a:ext cx="5425970" cy="5201273"/>
            </a:xfrm>
            <a:prstGeom prst="roundRect">
              <a:avLst>
                <a:gd name="adj" fmla="val 3639"/>
              </a:avLst>
            </a:prstGeom>
            <a:solidFill>
              <a:srgbClr val="C3E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7" name="Rectangle: Rounded Corners 6">
              <a:extLst>
                <a:ext uri="{FF2B5EF4-FFF2-40B4-BE49-F238E27FC236}">
                  <a16:creationId xmlns:a16="http://schemas.microsoft.com/office/drawing/2014/main" id="{AE3C2105-2924-A682-4860-B4789C833FB8}"/>
                </a:ext>
              </a:extLst>
            </p:cNvPr>
            <p:cNvSpPr/>
            <p:nvPr/>
          </p:nvSpPr>
          <p:spPr>
            <a:xfrm>
              <a:off x="6497623" y="1507511"/>
              <a:ext cx="5425970" cy="5201273"/>
            </a:xfrm>
            <a:prstGeom prst="roundRect">
              <a:avLst>
                <a:gd name="adj" fmla="val 3639"/>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a:ea typeface="+mn-ea"/>
                <a:cs typeface="+mn-cs"/>
              </a:endParaRPr>
            </a:p>
          </p:txBody>
        </p:sp>
      </p:grpSp>
      <p:sp>
        <p:nvSpPr>
          <p:cNvPr id="8" name="Text Placeholder 16">
            <a:extLst>
              <a:ext uri="{FF2B5EF4-FFF2-40B4-BE49-F238E27FC236}">
                <a16:creationId xmlns:a16="http://schemas.microsoft.com/office/drawing/2014/main" id="{7E658783-3483-18D4-19BD-5D379D82A01D}"/>
              </a:ext>
            </a:extLst>
          </p:cNvPr>
          <p:cNvSpPr txBox="1">
            <a:spLocks/>
          </p:cNvSpPr>
          <p:nvPr/>
        </p:nvSpPr>
        <p:spPr>
          <a:xfrm>
            <a:off x="648424" y="504118"/>
            <a:ext cx="10415588" cy="552450"/>
          </a:xfrm>
          <a:prstGeom prst="rect">
            <a:avLst/>
          </a:prstGeom>
        </p:spPr>
        <p:txBody>
          <a:bodyPr>
            <a:noAutofit/>
          </a:bodyPr>
          <a:lstStyle>
            <a:lvl1pPr marL="91463" marR="0" indent="-91463"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120" kern="1200" spc="0" baseline="0" smtClean="0">
                <a:solidFill>
                  <a:schemeClr val="tx1"/>
                </a:solidFill>
                <a:latin typeface="+mn-lt"/>
                <a:ea typeface="+mn-ea"/>
                <a:cs typeface="Segoe UI" panose="020B0502040204020203" pitchFamily="34" charset="0"/>
              </a:defRPr>
            </a:lvl1pPr>
            <a:lvl2pPr marL="182922" marR="0" indent="-91463"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801" kern="1200" spc="0" baseline="0" smtClean="0">
                <a:solidFill>
                  <a:schemeClr val="tx1"/>
                </a:solidFill>
                <a:latin typeface="+mn-lt"/>
                <a:ea typeface="+mn-ea"/>
                <a:cs typeface="+mn-cs"/>
              </a:defRPr>
            </a:lvl2pPr>
            <a:lvl3pPr marL="262952" marR="0" indent="-80028"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641" kern="1200" spc="0" baseline="0" smtClean="0">
                <a:solidFill>
                  <a:schemeClr val="tx1"/>
                </a:solidFill>
                <a:latin typeface="+mn-lt"/>
                <a:ea typeface="+mn-ea"/>
                <a:cs typeface="+mn-cs"/>
              </a:defRPr>
            </a:lvl3pPr>
            <a:lvl4pPr marL="337264" marR="0" indent="-72408"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560" kern="1200" spc="0" baseline="0" smtClean="0">
                <a:solidFill>
                  <a:schemeClr val="tx1"/>
                </a:solidFill>
                <a:latin typeface="+mn-lt"/>
                <a:ea typeface="+mn-ea"/>
                <a:cs typeface="+mn-cs"/>
              </a:defRPr>
            </a:lvl4pPr>
            <a:lvl5pPr marL="409670" marR="0" indent="-67325"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560" kern="1200" spc="0" baseline="0" dirty="0">
                <a:solidFill>
                  <a:schemeClr val="tx1"/>
                </a:solidFill>
                <a:latin typeface="+mn-lt"/>
                <a:ea typeface="+mn-ea"/>
                <a:cs typeface="+mn-cs"/>
              </a:defRPr>
            </a:lvl5pPr>
            <a:lvl6pPr marL="1026255"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6pPr>
            <a:lvl7pPr marL="1212848"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7pPr>
            <a:lvl8pPr marL="1399438"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8pPr>
            <a:lvl9pPr marL="1586031"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9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defRPr/>
            </a:pPr>
            <a:r>
              <a:rPr kumimoji="0" lang="en-GB" sz="3200" b="0" i="0" u="none" strike="noStrike" kern="1200" cap="none" spc="-21" normalizeH="0" baseline="0" noProof="0">
                <a:ln w="3175">
                  <a:noFill/>
                </a:ln>
                <a:gradFill>
                  <a:gsLst>
                    <a:gs pos="100000">
                      <a:srgbClr val="0078D4"/>
                    </a:gs>
                    <a:gs pos="0">
                      <a:srgbClr val="2A446F"/>
                    </a:gs>
                  </a:gsLst>
                  <a:lin ang="2700000" scaled="0"/>
                </a:gradFill>
                <a:effectLst/>
                <a:uLnTx/>
                <a:uFillTx/>
                <a:latin typeface="Segoe UI" panose="020B0502040204020203" pitchFamily="34" charset="0"/>
                <a:ea typeface="+mn-ea"/>
                <a:cs typeface="Segoe UI" panose="020B0502040204020203" pitchFamily="34" charset="0"/>
              </a:rPr>
              <a:t>Governance Domains</a:t>
            </a:r>
          </a:p>
        </p:txBody>
      </p:sp>
      <p:sp>
        <p:nvSpPr>
          <p:cNvPr id="9" name="Slide Number Placeholder 2">
            <a:extLst>
              <a:ext uri="{FF2B5EF4-FFF2-40B4-BE49-F238E27FC236}">
                <a16:creationId xmlns:a16="http://schemas.microsoft.com/office/drawing/2014/main" id="{1A8EE17A-439D-BE31-F0A6-52BFE5C52CD6}"/>
              </a:ext>
            </a:extLst>
          </p:cNvPr>
          <p:cNvSpPr txBox="1">
            <a:spLocks/>
          </p:cNvSpPr>
          <p:nvPr/>
        </p:nvSpPr>
        <p:spPr>
          <a:xfrm>
            <a:off x="563563" y="6311900"/>
            <a:ext cx="399288"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FFFFFF"/>
                </a:solidFill>
                <a:effectLst/>
                <a:uLnTx/>
                <a:uFillTx/>
                <a:latin typeface="Segoe Sans Text"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0" name="TextBox 9">
            <a:extLst>
              <a:ext uri="{FF2B5EF4-FFF2-40B4-BE49-F238E27FC236}">
                <a16:creationId xmlns:a16="http://schemas.microsoft.com/office/drawing/2014/main" id="{E8F4126C-65DB-12CD-0FE1-492421EF4314}"/>
              </a:ext>
            </a:extLst>
          </p:cNvPr>
          <p:cNvSpPr txBox="1"/>
          <p:nvPr/>
        </p:nvSpPr>
        <p:spPr>
          <a:xfrm>
            <a:off x="563563" y="1066437"/>
            <a:ext cx="6809872" cy="383503"/>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0" i="0" u="none" strike="noStrike" kern="100" cap="none" spc="0" normalizeH="0" baseline="0" noProof="0">
                <a:ln>
                  <a:noFill/>
                </a:ln>
                <a:solidFill>
                  <a:srgbClr val="000000"/>
                </a:solidFill>
                <a:effectLst/>
                <a:uLnTx/>
                <a:uFillTx/>
                <a:latin typeface="Segoe UI" panose="020B0502040204020203" pitchFamily="34" charset="0"/>
                <a:ea typeface="Aptos" panose="020B0004020202020204" pitchFamily="34" charset="0"/>
                <a:cs typeface="Segoe UI" panose="020B0502040204020203" pitchFamily="34" charset="0"/>
              </a:rPr>
              <a:t>The first point of federation across your organization</a:t>
            </a:r>
          </a:p>
        </p:txBody>
      </p:sp>
      <p:sp>
        <p:nvSpPr>
          <p:cNvPr id="11" name="TextBox 10">
            <a:extLst>
              <a:ext uri="{FF2B5EF4-FFF2-40B4-BE49-F238E27FC236}">
                <a16:creationId xmlns:a16="http://schemas.microsoft.com/office/drawing/2014/main" id="{8A0294F4-F132-E52E-EA5F-B3105F9FB3A4}"/>
              </a:ext>
            </a:extLst>
          </p:cNvPr>
          <p:cNvSpPr txBox="1"/>
          <p:nvPr/>
        </p:nvSpPr>
        <p:spPr>
          <a:xfrm>
            <a:off x="6717025" y="2208002"/>
            <a:ext cx="4606871" cy="3773662"/>
          </a:xfrm>
          <a:prstGeom prst="rect">
            <a:avLst/>
          </a:prstGeom>
          <a:noFill/>
        </p:spPr>
        <p:txBody>
          <a:bodyPr wrap="square">
            <a:spAutoFit/>
          </a:bodyPr>
          <a:lstStyle/>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1600" b="0" i="0" u="none" strike="noStrike" kern="100" cap="none" spc="0" normalizeH="0" baseline="0" noProof="0">
                <a:ln>
                  <a:noFill/>
                </a:ln>
                <a:solidFill>
                  <a:srgbClr val="000000"/>
                </a:solidFill>
                <a:effectLst/>
                <a:uLnTx/>
                <a:uFillTx/>
                <a:latin typeface="Segoe UI" panose="020B0502040204020203" pitchFamily="34" charset="0"/>
                <a:ea typeface="Aptos" panose="020B0004020202020204" pitchFamily="34" charset="0"/>
                <a:cs typeface="Segoe UI" panose="020B0502040204020203" pitchFamily="34" charset="0"/>
              </a:rPr>
              <a:t>Enables business experts to curate and govern their domains and data</a:t>
            </a:r>
          </a:p>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endParaRPr kumimoji="0" lang="en-US" sz="1600" b="0" i="0" u="none" strike="noStrike" kern="100" cap="none" spc="0" normalizeH="0" baseline="0" noProof="0">
              <a:ln>
                <a:noFill/>
              </a:ln>
              <a:solidFill>
                <a:srgbClr val="000000"/>
              </a:solidFill>
              <a:effectLst/>
              <a:uLnTx/>
              <a:uFillTx/>
              <a:latin typeface="Segoe UI" panose="020B0502040204020203" pitchFamily="34" charset="0"/>
              <a:ea typeface="Aptos" panose="020B0004020202020204" pitchFamily="34" charset="0"/>
              <a:cs typeface="Segoe UI" panose="020B0502040204020203" pitchFamily="34" charset="0"/>
            </a:endParaRPr>
          </a:p>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1600" b="0" i="0" u="none" strike="noStrike" kern="100" cap="none" spc="0" normalizeH="0" baseline="0" noProof="0">
                <a:ln>
                  <a:noFill/>
                </a:ln>
                <a:solidFill>
                  <a:srgbClr val="000000"/>
                </a:solidFill>
                <a:effectLst/>
                <a:uLnTx/>
                <a:uFillTx/>
                <a:latin typeface="Segoe UI" panose="020B0502040204020203" pitchFamily="34" charset="0"/>
                <a:ea typeface="Aptos" panose="020B0004020202020204" pitchFamily="34" charset="0"/>
                <a:cs typeface="Segoe UI" panose="020B0502040204020203" pitchFamily="34" charset="0"/>
              </a:rPr>
              <a:t>Domain owners can assign roles, types, parent domains, owners, and life cycle states, data estate mappings, and metadata</a:t>
            </a:r>
          </a:p>
          <a:p>
            <a:pPr marL="285750" marR="0" lvl="0" indent="-2857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endParaRPr kumimoji="0" lang="en-US" sz="1600" b="0" i="0" u="none" strike="noStrike" kern="100" cap="none" spc="0" normalizeH="0" baseline="0" noProof="0">
              <a:ln>
                <a:noFill/>
              </a:ln>
              <a:solidFill>
                <a:srgbClr val="000000"/>
              </a:solidFill>
              <a:effectLst/>
              <a:uLnTx/>
              <a:uFillTx/>
              <a:latin typeface="Segoe UI" panose="020B0502040204020203" pitchFamily="34" charset="0"/>
              <a:ea typeface="Aptos" panose="020B0004020202020204" pitchFamily="34" charset="0"/>
              <a:cs typeface="Segoe UI" panose="020B0502040204020203" pitchFamily="34" charset="0"/>
            </a:endParaRPr>
          </a:p>
          <a:p>
            <a:pPr marL="285750" marR="0" lvl="0" indent="-2857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1600" b="0" i="0" u="none" strike="noStrike" kern="100" cap="none" spc="0" normalizeH="0" baseline="0" noProof="0">
                <a:ln>
                  <a:noFill/>
                </a:ln>
                <a:solidFill>
                  <a:srgbClr val="000000"/>
                </a:solidFill>
                <a:effectLst/>
                <a:uLnTx/>
                <a:uFillTx/>
                <a:latin typeface="Segoe UI" panose="020B0502040204020203" pitchFamily="34" charset="0"/>
                <a:ea typeface="Aptos" panose="020B0004020202020204" pitchFamily="34" charset="0"/>
                <a:cs typeface="Segoe UI" panose="020B0502040204020203" pitchFamily="34" charset="0"/>
              </a:rPr>
              <a:t>Enables policies to be inherited by assets and products in the domain</a:t>
            </a:r>
          </a:p>
          <a:p>
            <a:pPr marL="285750" marR="0" lvl="0" indent="-2857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endParaRPr kumimoji="0" lang="en-US" sz="1600" b="0" i="0" u="none" strike="noStrike" kern="100" cap="none" spc="0" normalizeH="0" baseline="0" noProof="0">
              <a:ln>
                <a:noFill/>
              </a:ln>
              <a:solidFill>
                <a:srgbClr val="000000"/>
              </a:solidFill>
              <a:effectLst/>
              <a:uLnTx/>
              <a:uFillTx/>
              <a:latin typeface="Segoe UI" panose="020B0502040204020203" pitchFamily="34" charset="0"/>
              <a:ea typeface="Aptos" panose="020B0004020202020204" pitchFamily="34" charset="0"/>
              <a:cs typeface="Segoe UI" panose="020B0502040204020203" pitchFamily="34" charset="0"/>
            </a:endParaRPr>
          </a:p>
          <a:p>
            <a:pPr marL="285750" marR="0" lvl="0" indent="-2857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1600" b="0" i="0" u="none" strike="noStrike" kern="100" cap="none" spc="0" normalizeH="0" baseline="0" noProof="0">
                <a:ln>
                  <a:noFill/>
                </a:ln>
                <a:solidFill>
                  <a:srgbClr val="000000"/>
                </a:solidFill>
                <a:effectLst/>
                <a:uLnTx/>
                <a:uFillTx/>
                <a:latin typeface="Segoe UI" panose="020B0502040204020203" pitchFamily="34" charset="0"/>
                <a:ea typeface="Aptos" panose="020B0004020202020204" pitchFamily="34" charset="0"/>
                <a:cs typeface="Segoe UI" panose="020B0502040204020203" pitchFamily="34" charset="0"/>
              </a:rPr>
              <a:t>Aggregates data quality scores and help actions</a:t>
            </a:r>
          </a:p>
        </p:txBody>
      </p:sp>
      <p:pic>
        <p:nvPicPr>
          <p:cNvPr id="12" name="Picture 11">
            <a:extLst>
              <a:ext uri="{FF2B5EF4-FFF2-40B4-BE49-F238E27FC236}">
                <a16:creationId xmlns:a16="http://schemas.microsoft.com/office/drawing/2014/main" id="{3E6F3D1B-8FEC-479D-7A46-9F157077979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09281" y="2524406"/>
            <a:ext cx="5925250" cy="3149270"/>
          </a:xfrm>
          <a:prstGeom prst="rect">
            <a:avLst/>
          </a:prstGeom>
        </p:spPr>
      </p:pic>
    </p:spTree>
    <p:extLst>
      <p:ext uri="{BB962C8B-B14F-4D97-AF65-F5344CB8AC3E}">
        <p14:creationId xmlns:p14="http://schemas.microsoft.com/office/powerpoint/2010/main" val="27699374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0CC6E83A-00D4-BFB6-48BE-EDDBCDF9B6F6}"/>
              </a:ext>
              <a:ext uri="{C183D7F6-B498-43B3-948B-1728B52AA6E4}">
                <adec:decorative xmlns:adec="http://schemas.microsoft.com/office/drawing/2017/decorative" val="1"/>
              </a:ext>
            </a:extLst>
          </p:cNvPr>
          <p:cNvSpPr/>
          <p:nvPr/>
        </p:nvSpPr>
        <p:spPr bwMode="auto">
          <a:xfrm>
            <a:off x="435430" y="1405466"/>
            <a:ext cx="11321142" cy="5278362"/>
          </a:xfrm>
          <a:prstGeom prst="roundRect">
            <a:avLst>
              <a:gd name="adj" fmla="val 6925"/>
            </a:avLst>
          </a:prstGeom>
          <a:solidFill>
            <a:srgbClr val="FFFFFF">
              <a:alpha val="74000"/>
            </a:srgbClr>
          </a:solidFill>
          <a:ln w="19050">
            <a:noFill/>
            <a:headEnd type="none" w="med" len="med"/>
            <a:tailEnd type="none" w="med" len="med"/>
          </a:ln>
          <a:effectLst>
            <a:outerShdw blurRad="127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18" name="Freeform 17">
            <a:extLst>
              <a:ext uri="{FF2B5EF4-FFF2-40B4-BE49-F238E27FC236}">
                <a16:creationId xmlns:a16="http://schemas.microsoft.com/office/drawing/2014/main" id="{E420BC65-68A0-F23A-0AE3-7330FB177F0C}"/>
              </a:ext>
              <a:ext uri="{C183D7F6-B498-43B3-948B-1728B52AA6E4}">
                <adec:decorative xmlns:adec="http://schemas.microsoft.com/office/drawing/2017/decorative" val="1"/>
              </a:ext>
            </a:extLst>
          </p:cNvPr>
          <p:cNvSpPr/>
          <p:nvPr/>
        </p:nvSpPr>
        <p:spPr>
          <a:xfrm>
            <a:off x="552530" y="1569625"/>
            <a:ext cx="11064240" cy="4936917"/>
          </a:xfrm>
          <a:custGeom>
            <a:avLst/>
            <a:gdLst>
              <a:gd name="connsiteX0" fmla="*/ 232164 w 11064240"/>
              <a:gd name="connsiteY0" fmla="*/ 0 h 4439936"/>
              <a:gd name="connsiteX1" fmla="*/ 3642782 w 11064240"/>
              <a:gd name="connsiteY1" fmla="*/ 0 h 4439936"/>
              <a:gd name="connsiteX2" fmla="*/ 3727063 w 11064240"/>
              <a:gd name="connsiteY2" fmla="*/ 84281 h 4439936"/>
              <a:gd name="connsiteX3" fmla="*/ 3727063 w 11064240"/>
              <a:gd name="connsiteY3" fmla="*/ 539806 h 4439936"/>
              <a:gd name="connsiteX4" fmla="*/ 3767803 w 11064240"/>
              <a:gd name="connsiteY4" fmla="*/ 580546 h 4439936"/>
              <a:gd name="connsiteX5" fmla="*/ 3808543 w 11064240"/>
              <a:gd name="connsiteY5" fmla="*/ 539806 h 4439936"/>
              <a:gd name="connsiteX6" fmla="*/ 3808543 w 11064240"/>
              <a:gd name="connsiteY6" fmla="*/ 84281 h 4439936"/>
              <a:gd name="connsiteX7" fmla="*/ 3892824 w 11064240"/>
              <a:gd name="connsiteY7" fmla="*/ 0 h 4439936"/>
              <a:gd name="connsiteX8" fmla="*/ 7201162 w 11064240"/>
              <a:gd name="connsiteY8" fmla="*/ 0 h 4439936"/>
              <a:gd name="connsiteX9" fmla="*/ 7285443 w 11064240"/>
              <a:gd name="connsiteY9" fmla="*/ 84281 h 4439936"/>
              <a:gd name="connsiteX10" fmla="*/ 7285443 w 11064240"/>
              <a:gd name="connsiteY10" fmla="*/ 539806 h 4439936"/>
              <a:gd name="connsiteX11" fmla="*/ 7326183 w 11064240"/>
              <a:gd name="connsiteY11" fmla="*/ 580546 h 4439936"/>
              <a:gd name="connsiteX12" fmla="*/ 7366923 w 11064240"/>
              <a:gd name="connsiteY12" fmla="*/ 539806 h 4439936"/>
              <a:gd name="connsiteX13" fmla="*/ 7366923 w 11064240"/>
              <a:gd name="connsiteY13" fmla="*/ 84281 h 4439936"/>
              <a:gd name="connsiteX14" fmla="*/ 7451204 w 11064240"/>
              <a:gd name="connsiteY14" fmla="*/ 0 h 4439936"/>
              <a:gd name="connsiteX15" fmla="*/ 10832076 w 11064240"/>
              <a:gd name="connsiteY15" fmla="*/ 0 h 4439936"/>
              <a:gd name="connsiteX16" fmla="*/ 11064240 w 11064240"/>
              <a:gd name="connsiteY16" fmla="*/ 232164 h 4439936"/>
              <a:gd name="connsiteX17" fmla="*/ 11064240 w 11064240"/>
              <a:gd name="connsiteY17" fmla="*/ 4207772 h 4439936"/>
              <a:gd name="connsiteX18" fmla="*/ 10832076 w 11064240"/>
              <a:gd name="connsiteY18" fmla="*/ 4439936 h 4439936"/>
              <a:gd name="connsiteX19" fmla="*/ 232164 w 11064240"/>
              <a:gd name="connsiteY19" fmla="*/ 4439936 h 4439936"/>
              <a:gd name="connsiteX20" fmla="*/ 0 w 11064240"/>
              <a:gd name="connsiteY20" fmla="*/ 4207772 h 4439936"/>
              <a:gd name="connsiteX21" fmla="*/ 0 w 11064240"/>
              <a:gd name="connsiteY21" fmla="*/ 232164 h 4439936"/>
              <a:gd name="connsiteX22" fmla="*/ 232164 w 11064240"/>
              <a:gd name="connsiteY22" fmla="*/ 0 h 4439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064240" h="4439936">
                <a:moveTo>
                  <a:pt x="232164" y="0"/>
                </a:moveTo>
                <a:lnTo>
                  <a:pt x="3642782" y="0"/>
                </a:lnTo>
                <a:cubicBezTo>
                  <a:pt x="3689328" y="0"/>
                  <a:pt x="3727063" y="37735"/>
                  <a:pt x="3727063" y="84281"/>
                </a:cubicBezTo>
                <a:lnTo>
                  <a:pt x="3727063" y="539806"/>
                </a:lnTo>
                <a:cubicBezTo>
                  <a:pt x="3727063" y="562315"/>
                  <a:pt x="3745294" y="580546"/>
                  <a:pt x="3767803" y="580546"/>
                </a:cubicBezTo>
                <a:cubicBezTo>
                  <a:pt x="3790312" y="580546"/>
                  <a:pt x="3808543" y="562315"/>
                  <a:pt x="3808543" y="539806"/>
                </a:cubicBezTo>
                <a:lnTo>
                  <a:pt x="3808543" y="84281"/>
                </a:lnTo>
                <a:cubicBezTo>
                  <a:pt x="3808543" y="37735"/>
                  <a:pt x="3846279" y="0"/>
                  <a:pt x="3892824" y="0"/>
                </a:cubicBezTo>
                <a:lnTo>
                  <a:pt x="7201162" y="0"/>
                </a:lnTo>
                <a:cubicBezTo>
                  <a:pt x="7247708" y="0"/>
                  <a:pt x="7285443" y="37735"/>
                  <a:pt x="7285443" y="84281"/>
                </a:cubicBezTo>
                <a:lnTo>
                  <a:pt x="7285443" y="539806"/>
                </a:lnTo>
                <a:cubicBezTo>
                  <a:pt x="7285443" y="562315"/>
                  <a:pt x="7303674" y="580546"/>
                  <a:pt x="7326183" y="580546"/>
                </a:cubicBezTo>
                <a:cubicBezTo>
                  <a:pt x="7348692" y="580546"/>
                  <a:pt x="7366923" y="562315"/>
                  <a:pt x="7366923" y="539806"/>
                </a:cubicBezTo>
                <a:lnTo>
                  <a:pt x="7366923" y="84281"/>
                </a:lnTo>
                <a:cubicBezTo>
                  <a:pt x="7366923" y="37735"/>
                  <a:pt x="7404659" y="0"/>
                  <a:pt x="7451204" y="0"/>
                </a:cubicBezTo>
                <a:lnTo>
                  <a:pt x="10832076" y="0"/>
                </a:lnTo>
                <a:cubicBezTo>
                  <a:pt x="10960297" y="0"/>
                  <a:pt x="11064240" y="103943"/>
                  <a:pt x="11064240" y="232164"/>
                </a:cubicBezTo>
                <a:lnTo>
                  <a:pt x="11064240" y="4207772"/>
                </a:lnTo>
                <a:cubicBezTo>
                  <a:pt x="11064240" y="4335993"/>
                  <a:pt x="10960297" y="4439936"/>
                  <a:pt x="10832076" y="4439936"/>
                </a:cubicBezTo>
                <a:lnTo>
                  <a:pt x="232164" y="4439936"/>
                </a:lnTo>
                <a:cubicBezTo>
                  <a:pt x="103943" y="4439936"/>
                  <a:pt x="0" y="4335993"/>
                  <a:pt x="0" y="4207772"/>
                </a:cubicBezTo>
                <a:lnTo>
                  <a:pt x="0" y="232164"/>
                </a:lnTo>
                <a:cubicBezTo>
                  <a:pt x="0" y="103943"/>
                  <a:pt x="103943" y="0"/>
                  <a:pt x="232164" y="0"/>
                </a:cubicBezTo>
                <a:close/>
              </a:path>
            </a:pathLst>
          </a:custGeom>
          <a:gradFill>
            <a:gsLst>
              <a:gs pos="100000">
                <a:srgbClr val="D6EEFF"/>
              </a:gs>
              <a:gs pos="50000">
                <a:schemeClr val="bg1"/>
              </a:gs>
            </a:gsLst>
            <a:lin ang="2400000" scaled="0"/>
          </a:gradFill>
          <a:ln w="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1C1C1C"/>
              </a:solidFill>
              <a:effectLst/>
              <a:uLnTx/>
              <a:uFillTx/>
              <a:latin typeface="Segoe Sans Text" panose="020F0502020204030204"/>
              <a:ea typeface="+mn-ea"/>
              <a:cs typeface="+mn-cs"/>
            </a:endParaRPr>
          </a:p>
        </p:txBody>
      </p:sp>
      <p:sp>
        <p:nvSpPr>
          <p:cNvPr id="28" name="Freeform 27">
            <a:extLst>
              <a:ext uri="{FF2B5EF4-FFF2-40B4-BE49-F238E27FC236}">
                <a16:creationId xmlns:a16="http://schemas.microsoft.com/office/drawing/2014/main" id="{6507D915-62EB-2FDC-E129-B818C83DF935}"/>
              </a:ext>
              <a:ext uri="{C183D7F6-B498-43B3-948B-1728B52AA6E4}">
                <adec:decorative xmlns:adec="http://schemas.microsoft.com/office/drawing/2017/decorative" val="1"/>
              </a:ext>
            </a:extLst>
          </p:cNvPr>
          <p:cNvSpPr/>
          <p:nvPr/>
        </p:nvSpPr>
        <p:spPr>
          <a:xfrm>
            <a:off x="552530" y="1569625"/>
            <a:ext cx="11064240" cy="4936917"/>
          </a:xfrm>
          <a:custGeom>
            <a:avLst/>
            <a:gdLst>
              <a:gd name="connsiteX0" fmla="*/ 232164 w 11064240"/>
              <a:gd name="connsiteY0" fmla="*/ 0 h 4439936"/>
              <a:gd name="connsiteX1" fmla="*/ 3642782 w 11064240"/>
              <a:gd name="connsiteY1" fmla="*/ 0 h 4439936"/>
              <a:gd name="connsiteX2" fmla="*/ 3727063 w 11064240"/>
              <a:gd name="connsiteY2" fmla="*/ 84281 h 4439936"/>
              <a:gd name="connsiteX3" fmla="*/ 3727063 w 11064240"/>
              <a:gd name="connsiteY3" fmla="*/ 539806 h 4439936"/>
              <a:gd name="connsiteX4" fmla="*/ 3767803 w 11064240"/>
              <a:gd name="connsiteY4" fmla="*/ 580546 h 4439936"/>
              <a:gd name="connsiteX5" fmla="*/ 3808543 w 11064240"/>
              <a:gd name="connsiteY5" fmla="*/ 539806 h 4439936"/>
              <a:gd name="connsiteX6" fmla="*/ 3808543 w 11064240"/>
              <a:gd name="connsiteY6" fmla="*/ 84281 h 4439936"/>
              <a:gd name="connsiteX7" fmla="*/ 3892824 w 11064240"/>
              <a:gd name="connsiteY7" fmla="*/ 0 h 4439936"/>
              <a:gd name="connsiteX8" fmla="*/ 7201162 w 11064240"/>
              <a:gd name="connsiteY8" fmla="*/ 0 h 4439936"/>
              <a:gd name="connsiteX9" fmla="*/ 7285443 w 11064240"/>
              <a:gd name="connsiteY9" fmla="*/ 84281 h 4439936"/>
              <a:gd name="connsiteX10" fmla="*/ 7285443 w 11064240"/>
              <a:gd name="connsiteY10" fmla="*/ 539806 h 4439936"/>
              <a:gd name="connsiteX11" fmla="*/ 7326183 w 11064240"/>
              <a:gd name="connsiteY11" fmla="*/ 580546 h 4439936"/>
              <a:gd name="connsiteX12" fmla="*/ 7366923 w 11064240"/>
              <a:gd name="connsiteY12" fmla="*/ 539806 h 4439936"/>
              <a:gd name="connsiteX13" fmla="*/ 7366923 w 11064240"/>
              <a:gd name="connsiteY13" fmla="*/ 84281 h 4439936"/>
              <a:gd name="connsiteX14" fmla="*/ 7451204 w 11064240"/>
              <a:gd name="connsiteY14" fmla="*/ 0 h 4439936"/>
              <a:gd name="connsiteX15" fmla="*/ 10832076 w 11064240"/>
              <a:gd name="connsiteY15" fmla="*/ 0 h 4439936"/>
              <a:gd name="connsiteX16" fmla="*/ 11064240 w 11064240"/>
              <a:gd name="connsiteY16" fmla="*/ 232164 h 4439936"/>
              <a:gd name="connsiteX17" fmla="*/ 11064240 w 11064240"/>
              <a:gd name="connsiteY17" fmla="*/ 4207772 h 4439936"/>
              <a:gd name="connsiteX18" fmla="*/ 10832076 w 11064240"/>
              <a:gd name="connsiteY18" fmla="*/ 4439936 h 4439936"/>
              <a:gd name="connsiteX19" fmla="*/ 232164 w 11064240"/>
              <a:gd name="connsiteY19" fmla="*/ 4439936 h 4439936"/>
              <a:gd name="connsiteX20" fmla="*/ 0 w 11064240"/>
              <a:gd name="connsiteY20" fmla="*/ 4207772 h 4439936"/>
              <a:gd name="connsiteX21" fmla="*/ 0 w 11064240"/>
              <a:gd name="connsiteY21" fmla="*/ 232164 h 4439936"/>
              <a:gd name="connsiteX22" fmla="*/ 232164 w 11064240"/>
              <a:gd name="connsiteY22" fmla="*/ 0 h 4439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064240" h="4439936">
                <a:moveTo>
                  <a:pt x="232164" y="0"/>
                </a:moveTo>
                <a:lnTo>
                  <a:pt x="3642782" y="0"/>
                </a:lnTo>
                <a:cubicBezTo>
                  <a:pt x="3689328" y="0"/>
                  <a:pt x="3727063" y="37735"/>
                  <a:pt x="3727063" y="84281"/>
                </a:cubicBezTo>
                <a:lnTo>
                  <a:pt x="3727063" y="539806"/>
                </a:lnTo>
                <a:cubicBezTo>
                  <a:pt x="3727063" y="562315"/>
                  <a:pt x="3745294" y="580546"/>
                  <a:pt x="3767803" y="580546"/>
                </a:cubicBezTo>
                <a:cubicBezTo>
                  <a:pt x="3790312" y="580546"/>
                  <a:pt x="3808543" y="562315"/>
                  <a:pt x="3808543" y="539806"/>
                </a:cubicBezTo>
                <a:lnTo>
                  <a:pt x="3808543" y="84281"/>
                </a:lnTo>
                <a:cubicBezTo>
                  <a:pt x="3808543" y="37735"/>
                  <a:pt x="3846279" y="0"/>
                  <a:pt x="3892824" y="0"/>
                </a:cubicBezTo>
                <a:lnTo>
                  <a:pt x="7201162" y="0"/>
                </a:lnTo>
                <a:cubicBezTo>
                  <a:pt x="7247708" y="0"/>
                  <a:pt x="7285443" y="37735"/>
                  <a:pt x="7285443" y="84281"/>
                </a:cubicBezTo>
                <a:lnTo>
                  <a:pt x="7285443" y="539806"/>
                </a:lnTo>
                <a:cubicBezTo>
                  <a:pt x="7285443" y="562315"/>
                  <a:pt x="7303674" y="580546"/>
                  <a:pt x="7326183" y="580546"/>
                </a:cubicBezTo>
                <a:cubicBezTo>
                  <a:pt x="7348692" y="580546"/>
                  <a:pt x="7366923" y="562315"/>
                  <a:pt x="7366923" y="539806"/>
                </a:cubicBezTo>
                <a:lnTo>
                  <a:pt x="7366923" y="84281"/>
                </a:lnTo>
                <a:cubicBezTo>
                  <a:pt x="7366923" y="37735"/>
                  <a:pt x="7404659" y="0"/>
                  <a:pt x="7451204" y="0"/>
                </a:cubicBezTo>
                <a:lnTo>
                  <a:pt x="10832076" y="0"/>
                </a:lnTo>
                <a:cubicBezTo>
                  <a:pt x="10960297" y="0"/>
                  <a:pt x="11064240" y="103943"/>
                  <a:pt x="11064240" y="232164"/>
                </a:cubicBezTo>
                <a:lnTo>
                  <a:pt x="11064240" y="4207772"/>
                </a:lnTo>
                <a:cubicBezTo>
                  <a:pt x="11064240" y="4335993"/>
                  <a:pt x="10960297" y="4439936"/>
                  <a:pt x="10832076" y="4439936"/>
                </a:cubicBezTo>
                <a:lnTo>
                  <a:pt x="232164" y="4439936"/>
                </a:lnTo>
                <a:cubicBezTo>
                  <a:pt x="103943" y="4439936"/>
                  <a:pt x="0" y="4335993"/>
                  <a:pt x="0" y="4207772"/>
                </a:cubicBezTo>
                <a:lnTo>
                  <a:pt x="0" y="232164"/>
                </a:lnTo>
                <a:cubicBezTo>
                  <a:pt x="0" y="103943"/>
                  <a:pt x="103943" y="0"/>
                  <a:pt x="232164" y="0"/>
                </a:cubicBezTo>
                <a:close/>
              </a:path>
            </a:pathLst>
          </a:custGeom>
          <a:solidFill>
            <a:schemeClr val="bg1">
              <a:alpha val="80000"/>
            </a:schemeClr>
          </a:solidFill>
          <a:ln w="0" cap="flat">
            <a:noFill/>
            <a:prstDash val="solid"/>
            <a:miter/>
          </a:ln>
          <a:effectLst>
            <a:outerShdw blurRad="254000" algn="t" rotWithShape="0">
              <a:prstClr val="black">
                <a:alpha val="1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1C1C1C"/>
              </a:solidFill>
              <a:effectLst/>
              <a:uLnTx/>
              <a:uFillTx/>
              <a:latin typeface="Segoe Sans Text" panose="020F0502020204030204"/>
              <a:ea typeface="+mn-ea"/>
              <a:cs typeface="+mn-cs"/>
            </a:endParaRPr>
          </a:p>
        </p:txBody>
      </p:sp>
      <p:sp>
        <p:nvSpPr>
          <p:cNvPr id="11" name="Freeform 39">
            <a:extLst>
              <a:ext uri="{FF2B5EF4-FFF2-40B4-BE49-F238E27FC236}">
                <a16:creationId xmlns:a16="http://schemas.microsoft.com/office/drawing/2014/main" id="{37F85729-5F03-2DFB-D58C-99B3BCEE3C6A}"/>
              </a:ext>
            </a:extLst>
          </p:cNvPr>
          <p:cNvSpPr/>
          <p:nvPr/>
        </p:nvSpPr>
        <p:spPr>
          <a:xfrm>
            <a:off x="853386" y="1791665"/>
            <a:ext cx="3200400" cy="402336"/>
          </a:xfrm>
          <a:prstGeom prst="roundRect">
            <a:avLst>
              <a:gd name="adj" fmla="val 50000"/>
            </a:avLst>
          </a:prstGeom>
          <a:solidFill>
            <a:srgbClr val="C3E5FF"/>
          </a:soli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noProof="0">
                <a:ln>
                  <a:noFill/>
                </a:ln>
                <a:solidFill>
                  <a:srgbClr val="23395C"/>
                </a:solidFill>
                <a:effectLst/>
                <a:uLnTx/>
                <a:uFillTx/>
                <a:latin typeface="Segoe UI Semibold"/>
                <a:ea typeface="+mn-ea"/>
                <a:cs typeface="+mn-cs"/>
              </a:rPr>
              <a:t>GOOD</a:t>
            </a:r>
          </a:p>
        </p:txBody>
      </p:sp>
      <p:sp>
        <p:nvSpPr>
          <p:cNvPr id="16" name="Freeform 50">
            <a:extLst>
              <a:ext uri="{FF2B5EF4-FFF2-40B4-BE49-F238E27FC236}">
                <a16:creationId xmlns:a16="http://schemas.microsoft.com/office/drawing/2014/main" id="{6640EB17-CE13-0762-5E62-49A4B98BE6AD}"/>
              </a:ext>
            </a:extLst>
          </p:cNvPr>
          <p:cNvSpPr/>
          <p:nvPr/>
        </p:nvSpPr>
        <p:spPr>
          <a:xfrm>
            <a:off x="4494164" y="1791665"/>
            <a:ext cx="3203673" cy="402336"/>
          </a:xfrm>
          <a:prstGeom prst="roundRect">
            <a:avLst>
              <a:gd name="adj" fmla="val 50000"/>
            </a:avLst>
          </a:prstGeom>
          <a:solidFill>
            <a:schemeClr val="accent1"/>
          </a:soli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noProof="0">
                <a:ln>
                  <a:noFill/>
                </a:ln>
                <a:solidFill>
                  <a:srgbClr val="FFFFFF"/>
                </a:solidFill>
                <a:effectLst/>
                <a:uLnTx/>
                <a:uFillTx/>
                <a:latin typeface="Segoe UI Semibold"/>
                <a:ea typeface="+mn-ea"/>
                <a:cs typeface="+mn-cs"/>
              </a:rPr>
              <a:t>BETTER</a:t>
            </a:r>
          </a:p>
        </p:txBody>
      </p:sp>
      <p:sp>
        <p:nvSpPr>
          <p:cNvPr id="21" name="Freeform 51">
            <a:extLst>
              <a:ext uri="{FF2B5EF4-FFF2-40B4-BE49-F238E27FC236}">
                <a16:creationId xmlns:a16="http://schemas.microsoft.com/office/drawing/2014/main" id="{C08B6FC8-1FA1-40EB-9791-16DEAB88A652}"/>
              </a:ext>
            </a:extLst>
          </p:cNvPr>
          <p:cNvSpPr/>
          <p:nvPr/>
        </p:nvSpPr>
        <p:spPr>
          <a:xfrm>
            <a:off x="8106759" y="1791665"/>
            <a:ext cx="3200400" cy="402336"/>
          </a:xfrm>
          <a:prstGeom prst="roundRect">
            <a:avLst>
              <a:gd name="adj" fmla="val 50000"/>
            </a:avLst>
          </a:prstGeom>
          <a:solidFill>
            <a:srgbClr val="4FC6B3"/>
          </a:soli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noProof="0">
                <a:ln>
                  <a:noFill/>
                </a:ln>
                <a:solidFill>
                  <a:srgbClr val="FFFFFF"/>
                </a:solidFill>
                <a:effectLst/>
                <a:uLnTx/>
                <a:uFillTx/>
                <a:latin typeface="Segoe UI Semibold"/>
                <a:ea typeface="+mn-ea"/>
                <a:cs typeface="+mn-cs"/>
              </a:rPr>
              <a:t>BEST</a:t>
            </a:r>
          </a:p>
        </p:txBody>
      </p:sp>
      <p:sp>
        <p:nvSpPr>
          <p:cNvPr id="6" name="Title 1">
            <a:extLst>
              <a:ext uri="{FF2B5EF4-FFF2-40B4-BE49-F238E27FC236}">
                <a16:creationId xmlns:a16="http://schemas.microsoft.com/office/drawing/2014/main" id="{1391C1F5-C46A-C2DE-5BC5-351F8AE522DE}"/>
              </a:ext>
            </a:extLst>
          </p:cNvPr>
          <p:cNvSpPr txBox="1">
            <a:spLocks/>
          </p:cNvSpPr>
          <p:nvPr/>
        </p:nvSpPr>
        <p:spPr>
          <a:xfrm>
            <a:off x="563880" y="503396"/>
            <a:ext cx="11064240" cy="724535"/>
          </a:xfrm>
          <a:prstGeom prst="rect">
            <a:avLst/>
          </a:prstGeom>
        </p:spPr>
        <p:txBody>
          <a:bodyPr/>
          <a:lstStyle>
            <a:lvl1pPr algn="l" defTabSz="914400" rtl="0" eaLnBrk="1" latinLnBrk="0" hangingPunct="1">
              <a:lnSpc>
                <a:spcPct val="90000"/>
              </a:lnSpc>
              <a:spcBef>
                <a:spcPct val="0"/>
              </a:spcBef>
              <a:buNone/>
              <a:defRPr sz="3200" b="0" i="0" kern="1200">
                <a:solidFill>
                  <a:schemeClr val="tx2"/>
                </a:solidFill>
                <a:latin typeface="+mj-lt"/>
                <a:ea typeface="+mj-ea"/>
                <a:cs typeface="Segoe Sans Display" pitchFamily="2" charset="0"/>
              </a:defRPr>
            </a:lvl1pPr>
          </a:lstStyle>
          <a:p>
            <a:pPr marL="0" marR="0" lvl="0" indent="0" algn="l" defTabSz="373183" rtl="0" eaLnBrk="1" fontAlgn="auto" latinLnBrk="0" hangingPunct="1">
              <a:lnSpc>
                <a:spcPct val="100000"/>
              </a:lnSpc>
              <a:spcBef>
                <a:spcPct val="0"/>
              </a:spcBef>
              <a:spcAft>
                <a:spcPts val="0"/>
              </a:spcAft>
              <a:buClrTx/>
              <a:buSzPct val="90000"/>
              <a:buFontTx/>
              <a:buNone/>
              <a:tabLst/>
              <a:defRPr/>
            </a:pPr>
            <a:r>
              <a:rPr kumimoji="0" lang="en-US" sz="3200" b="0" i="0" u="none" strike="noStrike" kern="1200" cap="none" spc="-21" normalizeH="0" baseline="0" noProof="0">
                <a:ln w="3175">
                  <a:noFill/>
                </a:ln>
                <a:gradFill>
                  <a:gsLst>
                    <a:gs pos="100000">
                      <a:srgbClr val="0078D4"/>
                    </a:gs>
                    <a:gs pos="0">
                      <a:srgbClr val="2A446F"/>
                    </a:gs>
                  </a:gsLst>
                  <a:lin ang="2700000" scaled="0"/>
                </a:gradFill>
                <a:effectLst/>
                <a:uLnTx/>
                <a:uFillTx/>
                <a:latin typeface="Segoe UI" panose="020B0502040204020203" pitchFamily="34" charset="0"/>
                <a:ea typeface="+mj-ea"/>
                <a:cs typeface="Segoe UI" panose="020B0502040204020203" pitchFamily="34" charset="0"/>
              </a:rPr>
              <a:t>Governance Domain Scenarios</a:t>
            </a:r>
          </a:p>
        </p:txBody>
      </p:sp>
      <p:sp>
        <p:nvSpPr>
          <p:cNvPr id="26" name="TextBox 25">
            <a:extLst>
              <a:ext uri="{FF2B5EF4-FFF2-40B4-BE49-F238E27FC236}">
                <a16:creationId xmlns:a16="http://schemas.microsoft.com/office/drawing/2014/main" id="{2CF2E410-DEE4-05F0-8F3C-C60EAA5185BC}"/>
              </a:ext>
            </a:extLst>
          </p:cNvPr>
          <p:cNvSpPr txBox="1"/>
          <p:nvPr/>
        </p:nvSpPr>
        <p:spPr>
          <a:xfrm>
            <a:off x="791494" y="2525889"/>
            <a:ext cx="3091016" cy="3293209"/>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Central domain</a:t>
            </a:r>
            <a:br>
              <a:rPr kumimoji="0" lang="en-US" sz="16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using a single domain can be efficient for small organizations but might not scale well and is prone to bottlenecks during growth.</a:t>
            </a:r>
            <a:br>
              <a:rPr kumimoji="0" lang="en-US" sz="16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br>
            <a:endParaRPr kumimoji="0" lang="en-US" sz="16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Department-based domain </a:t>
            </a:r>
            <a:r>
              <a:rPr kumimoji="0" lang="en-US" sz="16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useful for department- based decision making however if departments regularly shift, you might need to shift your data catalog structure.</a:t>
            </a:r>
          </a:p>
        </p:txBody>
      </p:sp>
      <p:sp>
        <p:nvSpPr>
          <p:cNvPr id="30" name="TextBox 29">
            <a:extLst>
              <a:ext uri="{FF2B5EF4-FFF2-40B4-BE49-F238E27FC236}">
                <a16:creationId xmlns:a16="http://schemas.microsoft.com/office/drawing/2014/main" id="{0B7A4918-767A-DEDB-17E0-49AC51D52856}"/>
              </a:ext>
            </a:extLst>
          </p:cNvPr>
          <p:cNvSpPr txBox="1"/>
          <p:nvPr/>
        </p:nvSpPr>
        <p:spPr>
          <a:xfrm>
            <a:off x="4494164" y="2435797"/>
            <a:ext cx="3203672" cy="280076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Functional/line-of-business domains</a:t>
            </a:r>
            <a:br>
              <a:rPr kumimoji="0" lang="en-US" sz="1600" b="1"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grants flexibility to teams and aligns with the existing business model. This can be difficult to manage at scale and might need many sub domains to empower data decision makers. It can also create data use silos, which is the antithesis of the data catalog's governance approach.</a:t>
            </a:r>
          </a:p>
        </p:txBody>
      </p:sp>
      <p:sp>
        <p:nvSpPr>
          <p:cNvPr id="32" name="TextBox 31">
            <a:extLst>
              <a:ext uri="{FF2B5EF4-FFF2-40B4-BE49-F238E27FC236}">
                <a16:creationId xmlns:a16="http://schemas.microsoft.com/office/drawing/2014/main" id="{5C2D7FE5-AAE6-E1AE-A46E-E38127C78ABC}"/>
              </a:ext>
            </a:extLst>
          </p:cNvPr>
          <p:cNvSpPr txBox="1"/>
          <p:nvPr/>
        </p:nvSpPr>
        <p:spPr>
          <a:xfrm>
            <a:off x="8003663" y="2387987"/>
            <a:ext cx="3396843" cy="40318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Domain mix: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having a combination of domains across subject areas/data domains, functional domains, regulatory domains, and project domains align your data to its experts. In the data catalog, your data experts are your most powerful resource; they know what policies need to be applied and what others need to know to make the most use of the data. This structure will also be the most durable to organizational updates, since it's based on how the data is used in the day-to-day, instead of on business structures.</a:t>
            </a:r>
          </a:p>
        </p:txBody>
      </p:sp>
    </p:spTree>
    <p:extLst>
      <p:ext uri="{BB962C8B-B14F-4D97-AF65-F5344CB8AC3E}">
        <p14:creationId xmlns:p14="http://schemas.microsoft.com/office/powerpoint/2010/main" val="2883005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ound Single Corner Rectangle 1">
            <a:extLst>
              <a:ext uri="{FF2B5EF4-FFF2-40B4-BE49-F238E27FC236}">
                <a16:creationId xmlns:a16="http://schemas.microsoft.com/office/drawing/2014/main" id="{F1BDE4DD-2A2A-FA4D-E036-A2B6438AFC8F}"/>
              </a:ext>
            </a:extLst>
          </p:cNvPr>
          <p:cNvSpPr/>
          <p:nvPr/>
        </p:nvSpPr>
        <p:spPr>
          <a:xfrm flipV="1">
            <a:off x="1" y="0"/>
            <a:ext cx="4930814" cy="5995686"/>
          </a:xfrm>
          <a:prstGeom prst="round1Rect">
            <a:avLst>
              <a:gd name="adj" fmla="val 15471"/>
            </a:avLst>
          </a:prstGeom>
          <a:gradFill>
            <a:gsLst>
              <a:gs pos="100000">
                <a:srgbClr val="23395C"/>
              </a:gs>
              <a:gs pos="0">
                <a:srgbClr val="1C1C1C">
                  <a:lumMod val="100000"/>
                </a:srgbClr>
              </a:gs>
            </a:gsLst>
            <a:lin ang="78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44" name="Text Placeholder 16">
            <a:extLst>
              <a:ext uri="{FF2B5EF4-FFF2-40B4-BE49-F238E27FC236}">
                <a16:creationId xmlns:a16="http://schemas.microsoft.com/office/drawing/2014/main" id="{4769D746-1539-6AB8-D8AD-90A79376FB21}"/>
              </a:ext>
            </a:extLst>
          </p:cNvPr>
          <p:cNvSpPr txBox="1">
            <a:spLocks/>
          </p:cNvSpPr>
          <p:nvPr/>
        </p:nvSpPr>
        <p:spPr>
          <a:xfrm>
            <a:off x="399786" y="1726187"/>
            <a:ext cx="3983038" cy="5524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FFFFFF"/>
                </a:solidFill>
                <a:effectLst/>
                <a:uLnTx/>
                <a:uFillTx/>
                <a:latin typeface="Segoe Sans Display" panose="020F0302020204030204"/>
                <a:ea typeface="+mn-ea"/>
                <a:cs typeface="Segoe UI" panose="020B0502040204020203" pitchFamily="34" charset="0"/>
              </a:rPr>
              <a:t>Central Governance Domain</a:t>
            </a:r>
          </a:p>
        </p:txBody>
      </p:sp>
      <p:sp>
        <p:nvSpPr>
          <p:cNvPr id="45" name="Slide Number Placeholder 2">
            <a:extLst>
              <a:ext uri="{FF2B5EF4-FFF2-40B4-BE49-F238E27FC236}">
                <a16:creationId xmlns:a16="http://schemas.microsoft.com/office/drawing/2014/main" id="{422FA3CE-AE92-F156-7E06-1D90C47A84CD}"/>
              </a:ext>
            </a:extLst>
          </p:cNvPr>
          <p:cNvSpPr txBox="1">
            <a:spLocks/>
          </p:cNvSpPr>
          <p:nvPr/>
        </p:nvSpPr>
        <p:spPr>
          <a:xfrm>
            <a:off x="563563" y="6311900"/>
            <a:ext cx="399288"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FFFFFF"/>
                </a:solidFill>
                <a:effectLst/>
                <a:uLnTx/>
                <a:uFillTx/>
                <a:latin typeface="Segoe Sans Text"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46" name="Rounded Rectangle 7">
            <a:extLst>
              <a:ext uri="{FF2B5EF4-FFF2-40B4-BE49-F238E27FC236}">
                <a16:creationId xmlns:a16="http://schemas.microsoft.com/office/drawing/2014/main" id="{ECA6D6E2-25F2-4EBF-8769-9C30B9CEB466}"/>
              </a:ext>
            </a:extLst>
          </p:cNvPr>
          <p:cNvSpPr/>
          <p:nvPr/>
        </p:nvSpPr>
        <p:spPr>
          <a:xfrm rot="10800000">
            <a:off x="5267515" y="1124913"/>
            <a:ext cx="7173857" cy="4608174"/>
          </a:xfrm>
          <a:prstGeom prst="roundRect">
            <a:avLst>
              <a:gd name="adj" fmla="val 2795"/>
            </a:avLst>
          </a:prstGeom>
          <a:solidFill>
            <a:srgbClr val="FFFFFF"/>
          </a:solidFill>
          <a:ln w="19050" cap="rnd" cmpd="sng" algn="ctr">
            <a:noFill/>
            <a:prstDash val="solid"/>
            <a:miter lim="800000"/>
          </a:ln>
          <a:effectLst>
            <a:outerShdw blurRad="254000" algn="t" rotWithShape="0">
              <a:prstClr val="black">
                <a:alpha val="1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48" name="Text Placeholder 16">
            <a:extLst>
              <a:ext uri="{FF2B5EF4-FFF2-40B4-BE49-F238E27FC236}">
                <a16:creationId xmlns:a16="http://schemas.microsoft.com/office/drawing/2014/main" id="{1B774D23-546F-0E38-298F-E9CAD44AFF31}"/>
              </a:ext>
            </a:extLst>
          </p:cNvPr>
          <p:cNvSpPr txBox="1">
            <a:spLocks/>
          </p:cNvSpPr>
          <p:nvPr/>
        </p:nvSpPr>
        <p:spPr>
          <a:xfrm>
            <a:off x="470959" y="2411163"/>
            <a:ext cx="4184160" cy="204125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1800" b="0" i="0" u="none" strike="noStrike" kern="1200" cap="none" spc="0" normalizeH="0" baseline="0" noProof="0">
                <a:ln>
                  <a:noFill/>
                </a:ln>
                <a:solidFill>
                  <a:srgbClr val="50E6FF"/>
                </a:solidFill>
                <a:effectLst/>
                <a:uLnTx/>
                <a:uFillTx/>
                <a:latin typeface="Segoe UI"/>
                <a:ea typeface="+mn-ea"/>
                <a:cs typeface="Segoe Sans Display" pitchFamily="2" charset="0"/>
              </a:rPr>
              <a:t> </a:t>
            </a:r>
          </a:p>
          <a:p>
            <a:pPr marL="0" marR="0" lvl="0" indent="0" algn="l" defTabSz="932742" rtl="0" eaLnBrk="1" fontAlgn="auto" latinLnBrk="0" hangingPunct="1">
              <a:lnSpc>
                <a:spcPct val="100000"/>
              </a:lnSpc>
              <a:spcBef>
                <a:spcPts val="0"/>
              </a:spcBef>
              <a:spcAft>
                <a:spcPts val="0"/>
              </a:spcAft>
              <a:buClrTx/>
              <a:buSzPct val="90000"/>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Segoe Sans Display" pitchFamily="2" charset="0"/>
            </a:endParaRPr>
          </a:p>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a:ea typeface="+mn-ea"/>
                <a:cs typeface="Segoe Sans Display" pitchFamily="2" charset="0"/>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Segoe UI" panose="020B0502040204020203" pitchFamily="34" charset="0"/>
              </a:rPr>
              <a:t>Using a single domain can be efficient for small organizations but might not scale well and is prone to bottlenecks during growth.</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Segoe UI" panose="020B0502040204020203" pitchFamily="34" charset="0"/>
            </a:endParaRPr>
          </a:p>
        </p:txBody>
      </p:sp>
      <p:sp>
        <p:nvSpPr>
          <p:cNvPr id="50" name="Rectangle: Rounded Corners 49">
            <a:extLst>
              <a:ext uri="{FF2B5EF4-FFF2-40B4-BE49-F238E27FC236}">
                <a16:creationId xmlns:a16="http://schemas.microsoft.com/office/drawing/2014/main" id="{8B1AB164-758A-9F80-2462-FAAA1256A411}"/>
              </a:ext>
            </a:extLst>
          </p:cNvPr>
          <p:cNvSpPr/>
          <p:nvPr/>
        </p:nvSpPr>
        <p:spPr>
          <a:xfrm>
            <a:off x="5401774" y="1304197"/>
            <a:ext cx="6506692" cy="4253451"/>
          </a:xfrm>
          <a:prstGeom prst="roundRect">
            <a:avLst>
              <a:gd name="adj" fmla="val 5287"/>
            </a:avLst>
          </a:prstGeom>
          <a:solidFill>
            <a:srgbClr val="419FD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51" name="Rectangle: Rounded Corners 50">
            <a:extLst>
              <a:ext uri="{FF2B5EF4-FFF2-40B4-BE49-F238E27FC236}">
                <a16:creationId xmlns:a16="http://schemas.microsoft.com/office/drawing/2014/main" id="{D4BF3064-1BF2-CBC2-B6E1-76227618AFC2}"/>
              </a:ext>
            </a:extLst>
          </p:cNvPr>
          <p:cNvSpPr/>
          <p:nvPr/>
        </p:nvSpPr>
        <p:spPr>
          <a:xfrm>
            <a:off x="5515740" y="1571373"/>
            <a:ext cx="6205302" cy="3852483"/>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52" name="Rectangle: Rounded Corners 51">
            <a:extLst>
              <a:ext uri="{FF2B5EF4-FFF2-40B4-BE49-F238E27FC236}">
                <a16:creationId xmlns:a16="http://schemas.microsoft.com/office/drawing/2014/main" id="{FD8CAE8E-C223-4188-DEDC-CDFDAE9A7D1B}"/>
              </a:ext>
            </a:extLst>
          </p:cNvPr>
          <p:cNvSpPr/>
          <p:nvPr/>
        </p:nvSpPr>
        <p:spPr>
          <a:xfrm>
            <a:off x="5679009" y="2137148"/>
            <a:ext cx="1795098" cy="709961"/>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54" name="TextBox 53">
            <a:extLst>
              <a:ext uri="{FF2B5EF4-FFF2-40B4-BE49-F238E27FC236}">
                <a16:creationId xmlns:a16="http://schemas.microsoft.com/office/drawing/2014/main" id="{E0A0D6DC-0260-A2CD-FF86-F6C04972979D}"/>
              </a:ext>
            </a:extLst>
          </p:cNvPr>
          <p:cNvSpPr txBox="1"/>
          <p:nvPr/>
        </p:nvSpPr>
        <p:spPr>
          <a:xfrm>
            <a:off x="5565138" y="1725413"/>
            <a:ext cx="23676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Governance Domain</a:t>
            </a:r>
          </a:p>
        </p:txBody>
      </p:sp>
      <p:sp>
        <p:nvSpPr>
          <p:cNvPr id="68" name="TextBox 67">
            <a:extLst>
              <a:ext uri="{FF2B5EF4-FFF2-40B4-BE49-F238E27FC236}">
                <a16:creationId xmlns:a16="http://schemas.microsoft.com/office/drawing/2014/main" id="{FF5E8A3C-13DB-56E5-33F4-E6CFB0E11BDF}"/>
              </a:ext>
            </a:extLst>
          </p:cNvPr>
          <p:cNvSpPr txBox="1"/>
          <p:nvPr/>
        </p:nvSpPr>
        <p:spPr>
          <a:xfrm>
            <a:off x="5529908" y="1288473"/>
            <a:ext cx="295229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Catalog</a:t>
            </a:r>
          </a:p>
        </p:txBody>
      </p:sp>
      <p:sp>
        <p:nvSpPr>
          <p:cNvPr id="69" name="TextBox 68">
            <a:extLst>
              <a:ext uri="{FF2B5EF4-FFF2-40B4-BE49-F238E27FC236}">
                <a16:creationId xmlns:a16="http://schemas.microsoft.com/office/drawing/2014/main" id="{61AAAA33-621E-741E-B6A3-CF47577860C9}"/>
              </a:ext>
            </a:extLst>
          </p:cNvPr>
          <p:cNvSpPr txBox="1"/>
          <p:nvPr/>
        </p:nvSpPr>
        <p:spPr>
          <a:xfrm>
            <a:off x="5809884" y="2192254"/>
            <a:ext cx="18056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70" name="Rectangle: Rounded Corners 69">
            <a:extLst>
              <a:ext uri="{FF2B5EF4-FFF2-40B4-BE49-F238E27FC236}">
                <a16:creationId xmlns:a16="http://schemas.microsoft.com/office/drawing/2014/main" id="{2278728E-B23A-4854-4ED9-8763B8632169}"/>
              </a:ext>
            </a:extLst>
          </p:cNvPr>
          <p:cNvSpPr/>
          <p:nvPr/>
        </p:nvSpPr>
        <p:spPr>
          <a:xfrm>
            <a:off x="7622499" y="2137148"/>
            <a:ext cx="1795098" cy="709961"/>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71" name="TextBox 70">
            <a:extLst>
              <a:ext uri="{FF2B5EF4-FFF2-40B4-BE49-F238E27FC236}">
                <a16:creationId xmlns:a16="http://schemas.microsoft.com/office/drawing/2014/main" id="{26526DF8-578E-85EC-A653-D860F77BE9BA}"/>
              </a:ext>
            </a:extLst>
          </p:cNvPr>
          <p:cNvSpPr txBox="1"/>
          <p:nvPr/>
        </p:nvSpPr>
        <p:spPr>
          <a:xfrm>
            <a:off x="7753374" y="2192254"/>
            <a:ext cx="18056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72" name="Rectangle: Rounded Corners 71">
            <a:extLst>
              <a:ext uri="{FF2B5EF4-FFF2-40B4-BE49-F238E27FC236}">
                <a16:creationId xmlns:a16="http://schemas.microsoft.com/office/drawing/2014/main" id="{2EC90E8D-60D0-0DCB-0D5D-8B25052B5AF8}"/>
              </a:ext>
            </a:extLst>
          </p:cNvPr>
          <p:cNvSpPr/>
          <p:nvPr/>
        </p:nvSpPr>
        <p:spPr>
          <a:xfrm>
            <a:off x="9542401" y="2137148"/>
            <a:ext cx="1795098" cy="709961"/>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73" name="TextBox 72">
            <a:extLst>
              <a:ext uri="{FF2B5EF4-FFF2-40B4-BE49-F238E27FC236}">
                <a16:creationId xmlns:a16="http://schemas.microsoft.com/office/drawing/2014/main" id="{4313BB2D-91A4-6C12-BB4C-5571DB650A6C}"/>
              </a:ext>
            </a:extLst>
          </p:cNvPr>
          <p:cNvSpPr txBox="1"/>
          <p:nvPr/>
        </p:nvSpPr>
        <p:spPr>
          <a:xfrm>
            <a:off x="9673276" y="2192254"/>
            <a:ext cx="18056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74" name="Freeform 39">
            <a:extLst>
              <a:ext uri="{FF2B5EF4-FFF2-40B4-BE49-F238E27FC236}">
                <a16:creationId xmlns:a16="http://schemas.microsoft.com/office/drawing/2014/main" id="{09CE63E2-F15F-8A6F-DDCA-BA2188E61E10}"/>
              </a:ext>
            </a:extLst>
          </p:cNvPr>
          <p:cNvSpPr/>
          <p:nvPr/>
        </p:nvSpPr>
        <p:spPr>
          <a:xfrm>
            <a:off x="399786" y="1121305"/>
            <a:ext cx="3200400" cy="402336"/>
          </a:xfrm>
          <a:prstGeom prst="roundRect">
            <a:avLst>
              <a:gd name="adj" fmla="val 50000"/>
            </a:avLst>
          </a:prstGeom>
          <a:solidFill>
            <a:srgbClr val="C3E5FF"/>
          </a:solidFill>
          <a:ln w="12700" cap="flat" cmpd="sng" algn="ctr">
            <a:noFill/>
            <a:prstDash val="solid"/>
            <a:miter lim="800000"/>
          </a:ln>
          <a:effectLst>
            <a:outerShdw blurRad="50800" dist="38100" dir="2700000" algn="tl" rotWithShape="0">
              <a:prstClr val="black">
                <a:alpha val="20000"/>
              </a:prstClr>
            </a:outerShdw>
          </a:effectLst>
        </p:spPr>
        <p:txBody>
          <a:bodyPr wrap="non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noProof="0">
                <a:ln>
                  <a:noFill/>
                </a:ln>
                <a:solidFill>
                  <a:srgbClr val="23395C"/>
                </a:solidFill>
                <a:effectLst/>
                <a:uLnTx/>
                <a:uFillTx/>
                <a:latin typeface="Segoe UI Semibold"/>
                <a:ea typeface="+mn-ea"/>
                <a:cs typeface="+mn-cs"/>
              </a:rPr>
              <a:t>GOOD</a:t>
            </a:r>
          </a:p>
        </p:txBody>
      </p:sp>
      <p:sp>
        <p:nvSpPr>
          <p:cNvPr id="75" name="Rectangle: Rounded Corners 74">
            <a:extLst>
              <a:ext uri="{FF2B5EF4-FFF2-40B4-BE49-F238E27FC236}">
                <a16:creationId xmlns:a16="http://schemas.microsoft.com/office/drawing/2014/main" id="{09594642-9D39-3591-2389-1C48557D368B}"/>
              </a:ext>
            </a:extLst>
          </p:cNvPr>
          <p:cNvSpPr/>
          <p:nvPr/>
        </p:nvSpPr>
        <p:spPr>
          <a:xfrm>
            <a:off x="5695667" y="3013018"/>
            <a:ext cx="1795098" cy="709961"/>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76" name="TextBox 75">
            <a:extLst>
              <a:ext uri="{FF2B5EF4-FFF2-40B4-BE49-F238E27FC236}">
                <a16:creationId xmlns:a16="http://schemas.microsoft.com/office/drawing/2014/main" id="{90DA47E9-B38A-9AEC-2684-D500BD6B8438}"/>
              </a:ext>
            </a:extLst>
          </p:cNvPr>
          <p:cNvSpPr txBox="1"/>
          <p:nvPr/>
        </p:nvSpPr>
        <p:spPr>
          <a:xfrm>
            <a:off x="5826542" y="3068124"/>
            <a:ext cx="18056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77" name="Rectangle: Rounded Corners 76">
            <a:extLst>
              <a:ext uri="{FF2B5EF4-FFF2-40B4-BE49-F238E27FC236}">
                <a16:creationId xmlns:a16="http://schemas.microsoft.com/office/drawing/2014/main" id="{AD6702E9-B058-8EF3-561D-31043D5F359B}"/>
              </a:ext>
            </a:extLst>
          </p:cNvPr>
          <p:cNvSpPr/>
          <p:nvPr/>
        </p:nvSpPr>
        <p:spPr>
          <a:xfrm>
            <a:off x="7639157" y="3013018"/>
            <a:ext cx="1795098" cy="709961"/>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78" name="TextBox 77">
            <a:extLst>
              <a:ext uri="{FF2B5EF4-FFF2-40B4-BE49-F238E27FC236}">
                <a16:creationId xmlns:a16="http://schemas.microsoft.com/office/drawing/2014/main" id="{B492DA6D-943F-A76A-63C3-E4CA9949A3F0}"/>
              </a:ext>
            </a:extLst>
          </p:cNvPr>
          <p:cNvSpPr txBox="1"/>
          <p:nvPr/>
        </p:nvSpPr>
        <p:spPr>
          <a:xfrm>
            <a:off x="7770032" y="3068124"/>
            <a:ext cx="18056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79" name="Rectangle: Rounded Corners 78">
            <a:extLst>
              <a:ext uri="{FF2B5EF4-FFF2-40B4-BE49-F238E27FC236}">
                <a16:creationId xmlns:a16="http://schemas.microsoft.com/office/drawing/2014/main" id="{D60912A2-F5FA-9D61-5DC5-76C54617364D}"/>
              </a:ext>
            </a:extLst>
          </p:cNvPr>
          <p:cNvSpPr/>
          <p:nvPr/>
        </p:nvSpPr>
        <p:spPr>
          <a:xfrm>
            <a:off x="9559059" y="3013018"/>
            <a:ext cx="1795098" cy="709961"/>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80" name="TextBox 79">
            <a:extLst>
              <a:ext uri="{FF2B5EF4-FFF2-40B4-BE49-F238E27FC236}">
                <a16:creationId xmlns:a16="http://schemas.microsoft.com/office/drawing/2014/main" id="{50C459F3-B3C7-25ED-F540-0CBF26B69F94}"/>
              </a:ext>
            </a:extLst>
          </p:cNvPr>
          <p:cNvSpPr txBox="1"/>
          <p:nvPr/>
        </p:nvSpPr>
        <p:spPr>
          <a:xfrm>
            <a:off x="9689934" y="3068124"/>
            <a:ext cx="18056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81" name="Rectangle: Rounded Corners 80">
            <a:extLst>
              <a:ext uri="{FF2B5EF4-FFF2-40B4-BE49-F238E27FC236}">
                <a16:creationId xmlns:a16="http://schemas.microsoft.com/office/drawing/2014/main" id="{9A2AC957-62B0-6BE3-72AF-DB9BC9291659}"/>
              </a:ext>
            </a:extLst>
          </p:cNvPr>
          <p:cNvSpPr/>
          <p:nvPr/>
        </p:nvSpPr>
        <p:spPr>
          <a:xfrm>
            <a:off x="5712325" y="3863456"/>
            <a:ext cx="1795098" cy="709961"/>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82" name="TextBox 81">
            <a:extLst>
              <a:ext uri="{FF2B5EF4-FFF2-40B4-BE49-F238E27FC236}">
                <a16:creationId xmlns:a16="http://schemas.microsoft.com/office/drawing/2014/main" id="{C6A77930-AFCB-8E01-2477-EE765EF0034D}"/>
              </a:ext>
            </a:extLst>
          </p:cNvPr>
          <p:cNvSpPr txBox="1"/>
          <p:nvPr/>
        </p:nvSpPr>
        <p:spPr>
          <a:xfrm>
            <a:off x="5843200" y="3918562"/>
            <a:ext cx="18056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83" name="Rectangle: Rounded Corners 82">
            <a:extLst>
              <a:ext uri="{FF2B5EF4-FFF2-40B4-BE49-F238E27FC236}">
                <a16:creationId xmlns:a16="http://schemas.microsoft.com/office/drawing/2014/main" id="{605D57AD-4F0E-00A4-23EF-FC3C2B5F0975}"/>
              </a:ext>
            </a:extLst>
          </p:cNvPr>
          <p:cNvSpPr/>
          <p:nvPr/>
        </p:nvSpPr>
        <p:spPr>
          <a:xfrm>
            <a:off x="7655815" y="3863456"/>
            <a:ext cx="1795098" cy="709961"/>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84" name="TextBox 83">
            <a:extLst>
              <a:ext uri="{FF2B5EF4-FFF2-40B4-BE49-F238E27FC236}">
                <a16:creationId xmlns:a16="http://schemas.microsoft.com/office/drawing/2014/main" id="{F9585E29-0CA6-BC38-23E0-D85FA6ABED94}"/>
              </a:ext>
            </a:extLst>
          </p:cNvPr>
          <p:cNvSpPr txBox="1"/>
          <p:nvPr/>
        </p:nvSpPr>
        <p:spPr>
          <a:xfrm>
            <a:off x="7786690" y="3918562"/>
            <a:ext cx="18056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85" name="Rectangle: Rounded Corners 84">
            <a:extLst>
              <a:ext uri="{FF2B5EF4-FFF2-40B4-BE49-F238E27FC236}">
                <a16:creationId xmlns:a16="http://schemas.microsoft.com/office/drawing/2014/main" id="{36329F91-BCCE-E657-0019-50546E382828}"/>
              </a:ext>
            </a:extLst>
          </p:cNvPr>
          <p:cNvSpPr/>
          <p:nvPr/>
        </p:nvSpPr>
        <p:spPr>
          <a:xfrm>
            <a:off x="9575717" y="3863456"/>
            <a:ext cx="1795098" cy="709961"/>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86" name="TextBox 85">
            <a:extLst>
              <a:ext uri="{FF2B5EF4-FFF2-40B4-BE49-F238E27FC236}">
                <a16:creationId xmlns:a16="http://schemas.microsoft.com/office/drawing/2014/main" id="{D5CEEDAB-0B0B-D0B5-C371-B1663E86556F}"/>
              </a:ext>
            </a:extLst>
          </p:cNvPr>
          <p:cNvSpPr txBox="1"/>
          <p:nvPr/>
        </p:nvSpPr>
        <p:spPr>
          <a:xfrm>
            <a:off x="9706592" y="3918562"/>
            <a:ext cx="18056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Tree>
    <p:extLst>
      <p:ext uri="{BB962C8B-B14F-4D97-AF65-F5344CB8AC3E}">
        <p14:creationId xmlns:p14="http://schemas.microsoft.com/office/powerpoint/2010/main" val="53838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97572AEE-C235-9E3D-6078-7F27DACDCD30}"/>
              </a:ext>
            </a:extLst>
          </p:cNvPr>
          <p:cNvSpPr txBox="1">
            <a:spLocks/>
          </p:cNvSpPr>
          <p:nvPr/>
        </p:nvSpPr>
        <p:spPr>
          <a:xfrm>
            <a:off x="563563" y="6311900"/>
            <a:ext cx="399288"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4" name="Round Single Corner Rectangle 1">
            <a:extLst>
              <a:ext uri="{FF2B5EF4-FFF2-40B4-BE49-F238E27FC236}">
                <a16:creationId xmlns:a16="http://schemas.microsoft.com/office/drawing/2014/main" id="{82C7FD9C-4E76-2644-AF1F-7A2273D4B0BB}"/>
              </a:ext>
            </a:extLst>
          </p:cNvPr>
          <p:cNvSpPr/>
          <p:nvPr/>
        </p:nvSpPr>
        <p:spPr>
          <a:xfrm flipV="1">
            <a:off x="1" y="0"/>
            <a:ext cx="4930814" cy="5995686"/>
          </a:xfrm>
          <a:prstGeom prst="round1Rect">
            <a:avLst>
              <a:gd name="adj" fmla="val 15471"/>
            </a:avLst>
          </a:prstGeom>
          <a:gradFill>
            <a:gsLst>
              <a:gs pos="100000">
                <a:srgbClr val="23395C"/>
              </a:gs>
              <a:gs pos="0">
                <a:srgbClr val="1C1C1C">
                  <a:lumMod val="100000"/>
                </a:srgbClr>
              </a:gs>
            </a:gsLst>
            <a:lin ang="78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5" name="Text Placeholder 16">
            <a:extLst>
              <a:ext uri="{FF2B5EF4-FFF2-40B4-BE49-F238E27FC236}">
                <a16:creationId xmlns:a16="http://schemas.microsoft.com/office/drawing/2014/main" id="{8C9CE7C1-C402-C43F-86A6-5F8AB3B0D88B}"/>
              </a:ext>
            </a:extLst>
          </p:cNvPr>
          <p:cNvSpPr txBox="1">
            <a:spLocks/>
          </p:cNvSpPr>
          <p:nvPr/>
        </p:nvSpPr>
        <p:spPr>
          <a:xfrm>
            <a:off x="470959" y="1829272"/>
            <a:ext cx="3983397" cy="55238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FFFFFF"/>
                </a:solidFill>
                <a:effectLst/>
                <a:uLnTx/>
                <a:uFillTx/>
                <a:latin typeface="Segoe Sans Display" panose="020F0302020204030204"/>
                <a:ea typeface="+mn-ea"/>
                <a:cs typeface="Segoe UI" panose="020B0502040204020203" pitchFamily="34" charset="0"/>
              </a:rPr>
              <a:t>Department-Based Domains</a:t>
            </a:r>
          </a:p>
        </p:txBody>
      </p:sp>
      <p:sp>
        <p:nvSpPr>
          <p:cNvPr id="8" name="Text Placeholder 16">
            <a:extLst>
              <a:ext uri="{FF2B5EF4-FFF2-40B4-BE49-F238E27FC236}">
                <a16:creationId xmlns:a16="http://schemas.microsoft.com/office/drawing/2014/main" id="{E00AE56F-6B92-BE80-544D-1B02906F9477}"/>
              </a:ext>
            </a:extLst>
          </p:cNvPr>
          <p:cNvSpPr txBox="1">
            <a:spLocks/>
          </p:cNvSpPr>
          <p:nvPr/>
        </p:nvSpPr>
        <p:spPr>
          <a:xfrm>
            <a:off x="470959" y="2411163"/>
            <a:ext cx="4184160" cy="204125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1800" b="0" i="0" u="none" strike="noStrike" kern="1200" cap="none" spc="0" normalizeH="0" baseline="0" noProof="0">
                <a:ln>
                  <a:noFill/>
                </a:ln>
                <a:solidFill>
                  <a:srgbClr val="50E6FF"/>
                </a:solidFill>
                <a:effectLst/>
                <a:uLnTx/>
                <a:uFillTx/>
                <a:latin typeface="Segoe UI"/>
                <a:ea typeface="+mn-ea"/>
                <a:cs typeface="Segoe Sans Display" pitchFamily="2" charset="0"/>
              </a:rPr>
              <a:t> </a:t>
            </a:r>
          </a:p>
          <a:p>
            <a:pPr marL="0" marR="0" lvl="0" indent="0" algn="l" defTabSz="932742" rtl="0" eaLnBrk="1" fontAlgn="auto" latinLnBrk="0" hangingPunct="1">
              <a:lnSpc>
                <a:spcPct val="100000"/>
              </a:lnSpc>
              <a:spcBef>
                <a:spcPts val="0"/>
              </a:spcBef>
              <a:spcAft>
                <a:spcPts val="0"/>
              </a:spcAft>
              <a:buClrTx/>
              <a:buSzPct val="90000"/>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Segoe Sans Display" pitchFamily="2" charset="0"/>
            </a:endParaRPr>
          </a:p>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a:ea typeface="+mn-ea"/>
                <a:cs typeface="Segoe Sans Display" pitchFamily="2" charset="0"/>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Segoe UI" panose="020B0502040204020203" pitchFamily="34" charset="0"/>
              </a:rPr>
              <a:t>Useful for department- based decision making however if departments regularly shift, you might need to shift your data catalog structure</a:t>
            </a:r>
          </a:p>
        </p:txBody>
      </p:sp>
      <p:sp>
        <p:nvSpPr>
          <p:cNvPr id="14" name="Freeform 39">
            <a:extLst>
              <a:ext uri="{FF2B5EF4-FFF2-40B4-BE49-F238E27FC236}">
                <a16:creationId xmlns:a16="http://schemas.microsoft.com/office/drawing/2014/main" id="{36994EF5-65CA-C6BA-FA22-E37A41D45107}"/>
              </a:ext>
            </a:extLst>
          </p:cNvPr>
          <p:cNvSpPr/>
          <p:nvPr/>
        </p:nvSpPr>
        <p:spPr>
          <a:xfrm>
            <a:off x="389437" y="1121305"/>
            <a:ext cx="3200400" cy="402336"/>
          </a:xfrm>
          <a:prstGeom prst="roundRect">
            <a:avLst>
              <a:gd name="adj" fmla="val 50000"/>
            </a:avLst>
          </a:prstGeom>
          <a:solidFill>
            <a:srgbClr val="0078D4"/>
          </a:solidFill>
          <a:ln w="12700" cap="flat" cmpd="sng" algn="ctr">
            <a:noFill/>
            <a:prstDash val="solid"/>
            <a:miter lim="800000"/>
          </a:ln>
          <a:effectLst>
            <a:outerShdw blurRad="50800" dist="38100" dir="2700000" algn="tl" rotWithShape="0">
              <a:prstClr val="black">
                <a:alpha val="20000"/>
              </a:prstClr>
            </a:outerShdw>
          </a:effectLst>
        </p:spPr>
        <p:txBody>
          <a:bodyPr wrap="non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noProof="0">
                <a:ln>
                  <a:noFill/>
                </a:ln>
                <a:solidFill>
                  <a:srgbClr val="FFFFFF"/>
                </a:solidFill>
                <a:effectLst/>
                <a:uLnTx/>
                <a:uFillTx/>
                <a:latin typeface="Segoe UI Semibold"/>
                <a:ea typeface="+mn-ea"/>
                <a:cs typeface="+mn-cs"/>
              </a:rPr>
              <a:t>GOOD</a:t>
            </a:r>
          </a:p>
        </p:txBody>
      </p:sp>
      <p:sp>
        <p:nvSpPr>
          <p:cNvPr id="17" name="Rounded Rectangle 7">
            <a:extLst>
              <a:ext uri="{FF2B5EF4-FFF2-40B4-BE49-F238E27FC236}">
                <a16:creationId xmlns:a16="http://schemas.microsoft.com/office/drawing/2014/main" id="{572758AA-6262-77B4-8958-835941DF479A}"/>
              </a:ext>
            </a:extLst>
          </p:cNvPr>
          <p:cNvSpPr/>
          <p:nvPr/>
        </p:nvSpPr>
        <p:spPr>
          <a:xfrm rot="10800000">
            <a:off x="5267515" y="1124913"/>
            <a:ext cx="7173857" cy="4608174"/>
          </a:xfrm>
          <a:prstGeom prst="roundRect">
            <a:avLst>
              <a:gd name="adj" fmla="val 2795"/>
            </a:avLst>
          </a:prstGeom>
          <a:solidFill>
            <a:srgbClr val="FFFFFF"/>
          </a:solidFill>
          <a:ln w="19050" cap="rnd" cmpd="sng" algn="ctr">
            <a:noFill/>
            <a:prstDash val="solid"/>
            <a:miter lim="800000"/>
          </a:ln>
          <a:effectLst>
            <a:outerShdw blurRad="254000" algn="t" rotWithShape="0">
              <a:prstClr val="black">
                <a:alpha val="1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8" name="Rectangle: Rounded Corners 17">
            <a:extLst>
              <a:ext uri="{FF2B5EF4-FFF2-40B4-BE49-F238E27FC236}">
                <a16:creationId xmlns:a16="http://schemas.microsoft.com/office/drawing/2014/main" id="{B6EE6CF8-8675-5F2F-7429-0F9F654D7DD3}"/>
              </a:ext>
            </a:extLst>
          </p:cNvPr>
          <p:cNvSpPr/>
          <p:nvPr/>
        </p:nvSpPr>
        <p:spPr>
          <a:xfrm>
            <a:off x="5401773" y="1304197"/>
            <a:ext cx="6790227" cy="4253451"/>
          </a:xfrm>
          <a:prstGeom prst="roundRect">
            <a:avLst>
              <a:gd name="adj" fmla="val 5287"/>
            </a:avLst>
          </a:prstGeom>
          <a:solidFill>
            <a:srgbClr val="419FD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1" name="Rectangle: Rounded Corners 20">
            <a:extLst>
              <a:ext uri="{FF2B5EF4-FFF2-40B4-BE49-F238E27FC236}">
                <a16:creationId xmlns:a16="http://schemas.microsoft.com/office/drawing/2014/main" id="{D25CDEDA-9857-503D-0F2D-AA784027FB7D}"/>
              </a:ext>
            </a:extLst>
          </p:cNvPr>
          <p:cNvSpPr/>
          <p:nvPr/>
        </p:nvSpPr>
        <p:spPr>
          <a:xfrm>
            <a:off x="5515740" y="1571374"/>
            <a:ext cx="2136072" cy="1626770"/>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2" name="Rectangle: Rounded Corners 21">
            <a:extLst>
              <a:ext uri="{FF2B5EF4-FFF2-40B4-BE49-F238E27FC236}">
                <a16:creationId xmlns:a16="http://schemas.microsoft.com/office/drawing/2014/main" id="{4A1E5E53-025B-B44E-7BA9-6BE716920212}"/>
              </a:ext>
            </a:extLst>
          </p:cNvPr>
          <p:cNvSpPr/>
          <p:nvPr/>
        </p:nvSpPr>
        <p:spPr>
          <a:xfrm>
            <a:off x="5679009" y="2137148"/>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3" name="TextBox 22">
            <a:extLst>
              <a:ext uri="{FF2B5EF4-FFF2-40B4-BE49-F238E27FC236}">
                <a16:creationId xmlns:a16="http://schemas.microsoft.com/office/drawing/2014/main" id="{3BB9D2C7-672C-00B4-5021-474F9AD3D380}"/>
              </a:ext>
            </a:extLst>
          </p:cNvPr>
          <p:cNvSpPr txBox="1"/>
          <p:nvPr/>
        </p:nvSpPr>
        <p:spPr>
          <a:xfrm>
            <a:off x="5565138" y="1725413"/>
            <a:ext cx="179509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Marketing</a:t>
            </a:r>
          </a:p>
        </p:txBody>
      </p:sp>
      <p:sp>
        <p:nvSpPr>
          <p:cNvPr id="25" name="TextBox 24">
            <a:extLst>
              <a:ext uri="{FF2B5EF4-FFF2-40B4-BE49-F238E27FC236}">
                <a16:creationId xmlns:a16="http://schemas.microsoft.com/office/drawing/2014/main" id="{78D7970E-54A5-F8F4-CB2F-DD02D3230813}"/>
              </a:ext>
            </a:extLst>
          </p:cNvPr>
          <p:cNvSpPr txBox="1"/>
          <p:nvPr/>
        </p:nvSpPr>
        <p:spPr>
          <a:xfrm>
            <a:off x="5529908" y="1288473"/>
            <a:ext cx="295229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Catalog</a:t>
            </a:r>
          </a:p>
        </p:txBody>
      </p:sp>
      <p:sp>
        <p:nvSpPr>
          <p:cNvPr id="26" name="TextBox 25">
            <a:extLst>
              <a:ext uri="{FF2B5EF4-FFF2-40B4-BE49-F238E27FC236}">
                <a16:creationId xmlns:a16="http://schemas.microsoft.com/office/drawing/2014/main" id="{4FE24E1E-659B-5B27-C094-12200EEEAE69}"/>
              </a:ext>
            </a:extLst>
          </p:cNvPr>
          <p:cNvSpPr txBox="1"/>
          <p:nvPr/>
        </p:nvSpPr>
        <p:spPr>
          <a:xfrm>
            <a:off x="5809884" y="2192254"/>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28" name="Rectangle: Rounded Corners 27">
            <a:extLst>
              <a:ext uri="{FF2B5EF4-FFF2-40B4-BE49-F238E27FC236}">
                <a16:creationId xmlns:a16="http://schemas.microsoft.com/office/drawing/2014/main" id="{FB6263EF-4C52-3D59-86BD-79F8F78473F2}"/>
              </a:ext>
            </a:extLst>
          </p:cNvPr>
          <p:cNvSpPr/>
          <p:nvPr/>
        </p:nvSpPr>
        <p:spPr>
          <a:xfrm>
            <a:off x="7738205" y="1571373"/>
            <a:ext cx="2136072" cy="1626771"/>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9" name="TextBox 28">
            <a:extLst>
              <a:ext uri="{FF2B5EF4-FFF2-40B4-BE49-F238E27FC236}">
                <a16:creationId xmlns:a16="http://schemas.microsoft.com/office/drawing/2014/main" id="{BF2ECEB3-F687-9A30-E1E9-F6A3C2AC7C53}"/>
              </a:ext>
            </a:extLst>
          </p:cNvPr>
          <p:cNvSpPr txBox="1"/>
          <p:nvPr/>
        </p:nvSpPr>
        <p:spPr>
          <a:xfrm>
            <a:off x="7787603" y="1725413"/>
            <a:ext cx="15953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Finance</a:t>
            </a:r>
          </a:p>
        </p:txBody>
      </p:sp>
      <p:sp>
        <p:nvSpPr>
          <p:cNvPr id="30" name="Rectangle: Rounded Corners 29">
            <a:extLst>
              <a:ext uri="{FF2B5EF4-FFF2-40B4-BE49-F238E27FC236}">
                <a16:creationId xmlns:a16="http://schemas.microsoft.com/office/drawing/2014/main" id="{65C0278C-8714-C6E2-AF52-0F02241EBC84}"/>
              </a:ext>
            </a:extLst>
          </p:cNvPr>
          <p:cNvSpPr/>
          <p:nvPr/>
        </p:nvSpPr>
        <p:spPr>
          <a:xfrm>
            <a:off x="9939888" y="1571373"/>
            <a:ext cx="2136072" cy="1626771"/>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31" name="TextBox 30">
            <a:extLst>
              <a:ext uri="{FF2B5EF4-FFF2-40B4-BE49-F238E27FC236}">
                <a16:creationId xmlns:a16="http://schemas.microsoft.com/office/drawing/2014/main" id="{9D088B1F-B8E3-E036-CFCE-BD52699A8EA2}"/>
              </a:ext>
            </a:extLst>
          </p:cNvPr>
          <p:cNvSpPr txBox="1"/>
          <p:nvPr/>
        </p:nvSpPr>
        <p:spPr>
          <a:xfrm>
            <a:off x="9989286" y="1725413"/>
            <a:ext cx="179509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HR</a:t>
            </a:r>
          </a:p>
        </p:txBody>
      </p:sp>
      <p:sp>
        <p:nvSpPr>
          <p:cNvPr id="32" name="Freeform 39">
            <a:extLst>
              <a:ext uri="{FF2B5EF4-FFF2-40B4-BE49-F238E27FC236}">
                <a16:creationId xmlns:a16="http://schemas.microsoft.com/office/drawing/2014/main" id="{4E92F3D6-8CB7-2B9B-0FA6-E2A9C92384B7}"/>
              </a:ext>
            </a:extLst>
          </p:cNvPr>
          <p:cNvSpPr/>
          <p:nvPr/>
        </p:nvSpPr>
        <p:spPr>
          <a:xfrm>
            <a:off x="399786" y="1121305"/>
            <a:ext cx="3200400" cy="402336"/>
          </a:xfrm>
          <a:prstGeom prst="roundRect">
            <a:avLst>
              <a:gd name="adj" fmla="val 50000"/>
            </a:avLst>
          </a:prstGeom>
          <a:solidFill>
            <a:srgbClr val="C3E5FF"/>
          </a:solidFill>
          <a:ln w="12700" cap="flat" cmpd="sng" algn="ctr">
            <a:noFill/>
            <a:prstDash val="solid"/>
            <a:miter lim="800000"/>
          </a:ln>
          <a:effectLst>
            <a:outerShdw blurRad="50800" dist="38100" dir="2700000" algn="tl" rotWithShape="0">
              <a:prstClr val="black">
                <a:alpha val="20000"/>
              </a:prstClr>
            </a:outerShdw>
          </a:effectLst>
        </p:spPr>
        <p:txBody>
          <a:bodyPr wrap="non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noProof="0">
                <a:ln>
                  <a:noFill/>
                </a:ln>
                <a:solidFill>
                  <a:srgbClr val="23395C"/>
                </a:solidFill>
                <a:effectLst/>
                <a:uLnTx/>
                <a:uFillTx/>
                <a:latin typeface="Segoe UI Semibold"/>
                <a:ea typeface="+mn-ea"/>
                <a:cs typeface="+mn-cs"/>
              </a:rPr>
              <a:t>GOOD</a:t>
            </a:r>
          </a:p>
        </p:txBody>
      </p:sp>
      <p:sp>
        <p:nvSpPr>
          <p:cNvPr id="33" name="Rectangle: Rounded Corners 32">
            <a:extLst>
              <a:ext uri="{FF2B5EF4-FFF2-40B4-BE49-F238E27FC236}">
                <a16:creationId xmlns:a16="http://schemas.microsoft.com/office/drawing/2014/main" id="{5B811B5A-BB7A-2329-A86C-4EDE9321481E}"/>
              </a:ext>
            </a:extLst>
          </p:cNvPr>
          <p:cNvSpPr/>
          <p:nvPr/>
        </p:nvSpPr>
        <p:spPr>
          <a:xfrm>
            <a:off x="5693177" y="2651272"/>
            <a:ext cx="1795098" cy="392834"/>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35" name="TextBox 34">
            <a:extLst>
              <a:ext uri="{FF2B5EF4-FFF2-40B4-BE49-F238E27FC236}">
                <a16:creationId xmlns:a16="http://schemas.microsoft.com/office/drawing/2014/main" id="{4130B8C2-1C97-741E-1EF1-41248D2B49CB}"/>
              </a:ext>
            </a:extLst>
          </p:cNvPr>
          <p:cNvSpPr txBox="1"/>
          <p:nvPr/>
        </p:nvSpPr>
        <p:spPr>
          <a:xfrm>
            <a:off x="5842397" y="2742844"/>
            <a:ext cx="15178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36" name="Rectangle: Rounded Corners 35">
            <a:extLst>
              <a:ext uri="{FF2B5EF4-FFF2-40B4-BE49-F238E27FC236}">
                <a16:creationId xmlns:a16="http://schemas.microsoft.com/office/drawing/2014/main" id="{A150BB48-EC92-CF6E-FEBE-5E67D4B98220}"/>
              </a:ext>
            </a:extLst>
          </p:cNvPr>
          <p:cNvSpPr/>
          <p:nvPr/>
        </p:nvSpPr>
        <p:spPr>
          <a:xfrm>
            <a:off x="10084812" y="2173322"/>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38" name="TextBox 37">
            <a:extLst>
              <a:ext uri="{FF2B5EF4-FFF2-40B4-BE49-F238E27FC236}">
                <a16:creationId xmlns:a16="http://schemas.microsoft.com/office/drawing/2014/main" id="{4D564E76-9B04-753E-C19E-41F444F2A412}"/>
              </a:ext>
            </a:extLst>
          </p:cNvPr>
          <p:cNvSpPr txBox="1"/>
          <p:nvPr/>
        </p:nvSpPr>
        <p:spPr>
          <a:xfrm>
            <a:off x="10215687" y="2228428"/>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39" name="Rectangle: Rounded Corners 38">
            <a:extLst>
              <a:ext uri="{FF2B5EF4-FFF2-40B4-BE49-F238E27FC236}">
                <a16:creationId xmlns:a16="http://schemas.microsoft.com/office/drawing/2014/main" id="{BDE671BD-0DE4-BCEC-6A08-3048CA565704}"/>
              </a:ext>
            </a:extLst>
          </p:cNvPr>
          <p:cNvSpPr/>
          <p:nvPr/>
        </p:nvSpPr>
        <p:spPr>
          <a:xfrm>
            <a:off x="10098980" y="2687446"/>
            <a:ext cx="1795098" cy="392834"/>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41" name="TextBox 40">
            <a:extLst>
              <a:ext uri="{FF2B5EF4-FFF2-40B4-BE49-F238E27FC236}">
                <a16:creationId xmlns:a16="http://schemas.microsoft.com/office/drawing/2014/main" id="{4C568BEC-D449-04FA-BA0D-9C614F08CD44}"/>
              </a:ext>
            </a:extLst>
          </p:cNvPr>
          <p:cNvSpPr txBox="1"/>
          <p:nvPr/>
        </p:nvSpPr>
        <p:spPr>
          <a:xfrm>
            <a:off x="10248200" y="2779018"/>
            <a:ext cx="15178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42" name="Rectangle: Rounded Corners 41">
            <a:extLst>
              <a:ext uri="{FF2B5EF4-FFF2-40B4-BE49-F238E27FC236}">
                <a16:creationId xmlns:a16="http://schemas.microsoft.com/office/drawing/2014/main" id="{FF885684-63D9-2DBE-F968-80C1A6139C5D}"/>
              </a:ext>
            </a:extLst>
          </p:cNvPr>
          <p:cNvSpPr/>
          <p:nvPr/>
        </p:nvSpPr>
        <p:spPr>
          <a:xfrm>
            <a:off x="7899620" y="2126590"/>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43" name="TextBox 42">
            <a:extLst>
              <a:ext uri="{FF2B5EF4-FFF2-40B4-BE49-F238E27FC236}">
                <a16:creationId xmlns:a16="http://schemas.microsoft.com/office/drawing/2014/main" id="{9CABF7EA-248A-9EA0-967F-344D67918163}"/>
              </a:ext>
            </a:extLst>
          </p:cNvPr>
          <p:cNvSpPr txBox="1"/>
          <p:nvPr/>
        </p:nvSpPr>
        <p:spPr>
          <a:xfrm>
            <a:off x="8030495" y="2181696"/>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44" name="Rectangle: Rounded Corners 43">
            <a:extLst>
              <a:ext uri="{FF2B5EF4-FFF2-40B4-BE49-F238E27FC236}">
                <a16:creationId xmlns:a16="http://schemas.microsoft.com/office/drawing/2014/main" id="{ACB37E50-6731-7582-662E-F5E6A2C4CE91}"/>
              </a:ext>
            </a:extLst>
          </p:cNvPr>
          <p:cNvSpPr/>
          <p:nvPr/>
        </p:nvSpPr>
        <p:spPr>
          <a:xfrm>
            <a:off x="5581351" y="3450036"/>
            <a:ext cx="2136072" cy="1626770"/>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45" name="Rectangle: Rounded Corners 44">
            <a:extLst>
              <a:ext uri="{FF2B5EF4-FFF2-40B4-BE49-F238E27FC236}">
                <a16:creationId xmlns:a16="http://schemas.microsoft.com/office/drawing/2014/main" id="{C3E6C62B-5DF0-2F7D-CB29-B9DD1EFB1C02}"/>
              </a:ext>
            </a:extLst>
          </p:cNvPr>
          <p:cNvSpPr/>
          <p:nvPr/>
        </p:nvSpPr>
        <p:spPr>
          <a:xfrm>
            <a:off x="5744620" y="4015810"/>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46" name="TextBox 45">
            <a:extLst>
              <a:ext uri="{FF2B5EF4-FFF2-40B4-BE49-F238E27FC236}">
                <a16:creationId xmlns:a16="http://schemas.microsoft.com/office/drawing/2014/main" id="{F90819D3-8886-3626-552B-3D29893527F8}"/>
              </a:ext>
            </a:extLst>
          </p:cNvPr>
          <p:cNvSpPr txBox="1"/>
          <p:nvPr/>
        </p:nvSpPr>
        <p:spPr>
          <a:xfrm>
            <a:off x="5630749" y="3604075"/>
            <a:ext cx="179509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Sales</a:t>
            </a:r>
          </a:p>
        </p:txBody>
      </p:sp>
      <p:sp>
        <p:nvSpPr>
          <p:cNvPr id="47" name="TextBox 46">
            <a:extLst>
              <a:ext uri="{FF2B5EF4-FFF2-40B4-BE49-F238E27FC236}">
                <a16:creationId xmlns:a16="http://schemas.microsoft.com/office/drawing/2014/main" id="{C535A3FC-8EFD-E118-C198-FF795CA90FB2}"/>
              </a:ext>
            </a:extLst>
          </p:cNvPr>
          <p:cNvSpPr txBox="1"/>
          <p:nvPr/>
        </p:nvSpPr>
        <p:spPr>
          <a:xfrm>
            <a:off x="5875495" y="4070916"/>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48" name="Rectangle: Rounded Corners 47">
            <a:extLst>
              <a:ext uri="{FF2B5EF4-FFF2-40B4-BE49-F238E27FC236}">
                <a16:creationId xmlns:a16="http://schemas.microsoft.com/office/drawing/2014/main" id="{1DF80663-6FA6-A064-D292-81C6AC3527A3}"/>
              </a:ext>
            </a:extLst>
          </p:cNvPr>
          <p:cNvSpPr/>
          <p:nvPr/>
        </p:nvSpPr>
        <p:spPr>
          <a:xfrm>
            <a:off x="7803816" y="3450035"/>
            <a:ext cx="2136072" cy="1626771"/>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49" name="TextBox 48">
            <a:extLst>
              <a:ext uri="{FF2B5EF4-FFF2-40B4-BE49-F238E27FC236}">
                <a16:creationId xmlns:a16="http://schemas.microsoft.com/office/drawing/2014/main" id="{1183F46C-C943-4819-3D1C-5ADFB76153FC}"/>
              </a:ext>
            </a:extLst>
          </p:cNvPr>
          <p:cNvSpPr txBox="1"/>
          <p:nvPr/>
        </p:nvSpPr>
        <p:spPr>
          <a:xfrm>
            <a:off x="7853214" y="3604075"/>
            <a:ext cx="15953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Operations</a:t>
            </a:r>
          </a:p>
        </p:txBody>
      </p:sp>
      <p:sp>
        <p:nvSpPr>
          <p:cNvPr id="50" name="Rectangle: Rounded Corners 49">
            <a:extLst>
              <a:ext uri="{FF2B5EF4-FFF2-40B4-BE49-F238E27FC236}">
                <a16:creationId xmlns:a16="http://schemas.microsoft.com/office/drawing/2014/main" id="{BD786044-F623-EB89-6A58-DF9169E6DC0A}"/>
              </a:ext>
            </a:extLst>
          </p:cNvPr>
          <p:cNvSpPr/>
          <p:nvPr/>
        </p:nvSpPr>
        <p:spPr>
          <a:xfrm>
            <a:off x="7965231" y="4005252"/>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51" name="TextBox 50">
            <a:extLst>
              <a:ext uri="{FF2B5EF4-FFF2-40B4-BE49-F238E27FC236}">
                <a16:creationId xmlns:a16="http://schemas.microsoft.com/office/drawing/2014/main" id="{7E8478EC-D1AE-DAF7-0907-B70BAB318A91}"/>
              </a:ext>
            </a:extLst>
          </p:cNvPr>
          <p:cNvSpPr txBox="1"/>
          <p:nvPr/>
        </p:nvSpPr>
        <p:spPr>
          <a:xfrm>
            <a:off x="8096106" y="4060358"/>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52" name="Rectangle: Rounded Corners 51">
            <a:extLst>
              <a:ext uri="{FF2B5EF4-FFF2-40B4-BE49-F238E27FC236}">
                <a16:creationId xmlns:a16="http://schemas.microsoft.com/office/drawing/2014/main" id="{84908E46-EBAD-1BA0-60AF-B2D9B6623CA9}"/>
              </a:ext>
            </a:extLst>
          </p:cNvPr>
          <p:cNvSpPr/>
          <p:nvPr/>
        </p:nvSpPr>
        <p:spPr>
          <a:xfrm>
            <a:off x="10021174" y="3431948"/>
            <a:ext cx="2136072" cy="1626771"/>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53" name="TextBox 52">
            <a:extLst>
              <a:ext uri="{FF2B5EF4-FFF2-40B4-BE49-F238E27FC236}">
                <a16:creationId xmlns:a16="http://schemas.microsoft.com/office/drawing/2014/main" id="{50C51758-0501-0EAF-FFC8-B1EFC35ABFCE}"/>
              </a:ext>
            </a:extLst>
          </p:cNvPr>
          <p:cNvSpPr txBox="1"/>
          <p:nvPr/>
        </p:nvSpPr>
        <p:spPr>
          <a:xfrm>
            <a:off x="10070572" y="3585988"/>
            <a:ext cx="179509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IT</a:t>
            </a:r>
          </a:p>
        </p:txBody>
      </p:sp>
      <p:sp>
        <p:nvSpPr>
          <p:cNvPr id="55" name="Rectangle: Rounded Corners 54">
            <a:extLst>
              <a:ext uri="{FF2B5EF4-FFF2-40B4-BE49-F238E27FC236}">
                <a16:creationId xmlns:a16="http://schemas.microsoft.com/office/drawing/2014/main" id="{0AFED2A1-6F93-EABE-48F5-1E710EABF39D}"/>
              </a:ext>
            </a:extLst>
          </p:cNvPr>
          <p:cNvSpPr/>
          <p:nvPr/>
        </p:nvSpPr>
        <p:spPr>
          <a:xfrm>
            <a:off x="10166098" y="4033897"/>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57" name="TextBox 56">
            <a:extLst>
              <a:ext uri="{FF2B5EF4-FFF2-40B4-BE49-F238E27FC236}">
                <a16:creationId xmlns:a16="http://schemas.microsoft.com/office/drawing/2014/main" id="{BDD1AEC0-6886-277F-56A6-E1AB07404BF1}"/>
              </a:ext>
            </a:extLst>
          </p:cNvPr>
          <p:cNvSpPr txBox="1"/>
          <p:nvPr/>
        </p:nvSpPr>
        <p:spPr>
          <a:xfrm>
            <a:off x="10296973" y="4089003"/>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58" name="Rectangle: Rounded Corners 57">
            <a:extLst>
              <a:ext uri="{FF2B5EF4-FFF2-40B4-BE49-F238E27FC236}">
                <a16:creationId xmlns:a16="http://schemas.microsoft.com/office/drawing/2014/main" id="{1B245DC8-A9C4-F4D2-4748-75F57DBBEE5E}"/>
              </a:ext>
            </a:extLst>
          </p:cNvPr>
          <p:cNvSpPr/>
          <p:nvPr/>
        </p:nvSpPr>
        <p:spPr>
          <a:xfrm>
            <a:off x="10180266" y="4548021"/>
            <a:ext cx="1795098" cy="392834"/>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59" name="TextBox 58">
            <a:extLst>
              <a:ext uri="{FF2B5EF4-FFF2-40B4-BE49-F238E27FC236}">
                <a16:creationId xmlns:a16="http://schemas.microsoft.com/office/drawing/2014/main" id="{05DEA1C8-AE7A-A86B-FAC6-CE4E1FC002AD}"/>
              </a:ext>
            </a:extLst>
          </p:cNvPr>
          <p:cNvSpPr txBox="1"/>
          <p:nvPr/>
        </p:nvSpPr>
        <p:spPr>
          <a:xfrm>
            <a:off x="10329486" y="4639593"/>
            <a:ext cx="15178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Tree>
    <p:extLst>
      <p:ext uri="{BB962C8B-B14F-4D97-AF65-F5344CB8AC3E}">
        <p14:creationId xmlns:p14="http://schemas.microsoft.com/office/powerpoint/2010/main" val="1654146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EC0A2523-BE35-8DA9-B717-33A2E2C76D76}"/>
              </a:ext>
            </a:extLst>
          </p:cNvPr>
          <p:cNvSpPr txBox="1">
            <a:spLocks/>
          </p:cNvSpPr>
          <p:nvPr/>
        </p:nvSpPr>
        <p:spPr>
          <a:xfrm>
            <a:off x="563563" y="6311900"/>
            <a:ext cx="399288"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FFFFFF"/>
                </a:solidFill>
                <a:effectLst/>
                <a:uLnTx/>
                <a:uFillTx/>
                <a:latin typeface="Segoe Sans Text"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4" name="Round Single Corner Rectangle 1">
            <a:extLst>
              <a:ext uri="{FF2B5EF4-FFF2-40B4-BE49-F238E27FC236}">
                <a16:creationId xmlns:a16="http://schemas.microsoft.com/office/drawing/2014/main" id="{9A97159C-2ACD-8A04-43E5-4DE4CCEA4C96}"/>
              </a:ext>
            </a:extLst>
          </p:cNvPr>
          <p:cNvSpPr/>
          <p:nvPr/>
        </p:nvSpPr>
        <p:spPr>
          <a:xfrm flipV="1">
            <a:off x="1" y="0"/>
            <a:ext cx="4930814" cy="5995686"/>
          </a:xfrm>
          <a:prstGeom prst="round1Rect">
            <a:avLst>
              <a:gd name="adj" fmla="val 15471"/>
            </a:avLst>
          </a:prstGeom>
          <a:gradFill>
            <a:gsLst>
              <a:gs pos="100000">
                <a:srgbClr val="23395C"/>
              </a:gs>
              <a:gs pos="0">
                <a:srgbClr val="1C1C1C">
                  <a:lumMod val="100000"/>
                </a:srgbClr>
              </a:gs>
            </a:gsLst>
            <a:lin ang="78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5" name="Text Placeholder 16">
            <a:extLst>
              <a:ext uri="{FF2B5EF4-FFF2-40B4-BE49-F238E27FC236}">
                <a16:creationId xmlns:a16="http://schemas.microsoft.com/office/drawing/2014/main" id="{EFCC1D34-FDC4-9DEC-9522-CBAEE419847B}"/>
              </a:ext>
            </a:extLst>
          </p:cNvPr>
          <p:cNvSpPr txBox="1">
            <a:spLocks/>
          </p:cNvSpPr>
          <p:nvPr/>
        </p:nvSpPr>
        <p:spPr>
          <a:xfrm>
            <a:off x="470959" y="1829272"/>
            <a:ext cx="3983397" cy="55238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FFFFFF"/>
                </a:solidFill>
                <a:effectLst/>
                <a:uLnTx/>
                <a:uFillTx/>
                <a:latin typeface="Segoe Sans Display" panose="020F0302020204030204"/>
                <a:ea typeface="+mn-ea"/>
                <a:cs typeface="Segoe UI" panose="020B0502040204020203" pitchFamily="34" charset="0"/>
              </a:rPr>
              <a:t>Functional Line of Business Domains</a:t>
            </a:r>
          </a:p>
        </p:txBody>
      </p:sp>
      <p:sp>
        <p:nvSpPr>
          <p:cNvPr id="8" name="Text Placeholder 16">
            <a:extLst>
              <a:ext uri="{FF2B5EF4-FFF2-40B4-BE49-F238E27FC236}">
                <a16:creationId xmlns:a16="http://schemas.microsoft.com/office/drawing/2014/main" id="{92437A1C-991B-290B-12B8-0019136308D5}"/>
              </a:ext>
            </a:extLst>
          </p:cNvPr>
          <p:cNvSpPr txBox="1">
            <a:spLocks/>
          </p:cNvSpPr>
          <p:nvPr/>
        </p:nvSpPr>
        <p:spPr>
          <a:xfrm>
            <a:off x="470959" y="2411163"/>
            <a:ext cx="4184160" cy="204125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1800" b="0" i="0" u="none" strike="noStrike" kern="1200" cap="none" spc="0" normalizeH="0" baseline="0" noProof="0">
                <a:ln>
                  <a:noFill/>
                </a:ln>
                <a:solidFill>
                  <a:srgbClr val="50E6FF"/>
                </a:solidFill>
                <a:effectLst/>
                <a:uLnTx/>
                <a:uFillTx/>
                <a:latin typeface="Segoe UI"/>
                <a:ea typeface="+mn-ea"/>
                <a:cs typeface="Segoe Sans Display" pitchFamily="2" charset="0"/>
              </a:rPr>
              <a:t> </a:t>
            </a:r>
          </a:p>
          <a:p>
            <a:pPr marL="0" marR="0" lvl="0" indent="0" algn="l" defTabSz="932742" rtl="0" eaLnBrk="1" fontAlgn="auto" latinLnBrk="0" hangingPunct="1">
              <a:lnSpc>
                <a:spcPct val="100000"/>
              </a:lnSpc>
              <a:spcBef>
                <a:spcPts val="0"/>
              </a:spcBef>
              <a:spcAft>
                <a:spcPts val="0"/>
              </a:spcAft>
              <a:buClrTx/>
              <a:buSzPct val="90000"/>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Segoe Sans Display" pitchFamily="2" charset="0"/>
            </a:endParaRPr>
          </a:p>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a:ea typeface="+mn-ea"/>
                <a:cs typeface="Segoe Sans Display" pitchFamily="2" charset="0"/>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Segoe UI" panose="020B0502040204020203" pitchFamily="34" charset="0"/>
              </a:rPr>
              <a:t>Grants flexibility to teams and aligns with the existing business model. This can be difficult to manage at scale and might need many sub domains to empower data decision makers. It can also create data use silos, which is the antithesis of the data catalog's governance approach.</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Segoe UI" panose="020B0502040204020203" pitchFamily="34" charset="0"/>
            </a:endParaRPr>
          </a:p>
        </p:txBody>
      </p:sp>
      <p:sp>
        <p:nvSpPr>
          <p:cNvPr id="9" name="Freeform 50">
            <a:extLst>
              <a:ext uri="{FF2B5EF4-FFF2-40B4-BE49-F238E27FC236}">
                <a16:creationId xmlns:a16="http://schemas.microsoft.com/office/drawing/2014/main" id="{8BCE8CE7-23CC-9966-CB01-31272C152BE7}"/>
              </a:ext>
            </a:extLst>
          </p:cNvPr>
          <p:cNvSpPr/>
          <p:nvPr/>
        </p:nvSpPr>
        <p:spPr>
          <a:xfrm>
            <a:off x="454922" y="1121305"/>
            <a:ext cx="3203673" cy="402336"/>
          </a:xfrm>
          <a:prstGeom prst="roundRect">
            <a:avLst>
              <a:gd name="adj" fmla="val 50000"/>
            </a:avLst>
          </a:prstGeom>
          <a:solidFill>
            <a:srgbClr val="0078D4"/>
          </a:solidFill>
          <a:ln w="12700" cap="flat" cmpd="sng" algn="ctr">
            <a:noFill/>
            <a:prstDash val="solid"/>
            <a:miter lim="800000"/>
          </a:ln>
          <a:effectLst>
            <a:outerShdw blurRad="50800" dist="38100" dir="2700000" algn="tl" rotWithShape="0">
              <a:prstClr val="black">
                <a:alpha val="20000"/>
              </a:prstClr>
            </a:outerShdw>
          </a:effectLst>
        </p:spPr>
        <p:txBody>
          <a:bodyPr wrap="non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noProof="0">
                <a:ln>
                  <a:noFill/>
                </a:ln>
                <a:solidFill>
                  <a:srgbClr val="FFFFFF"/>
                </a:solidFill>
                <a:effectLst/>
                <a:uLnTx/>
                <a:uFillTx/>
                <a:latin typeface="Segoe UI Semibold"/>
                <a:ea typeface="+mn-ea"/>
                <a:cs typeface="+mn-cs"/>
              </a:rPr>
              <a:t>BETTER</a:t>
            </a:r>
          </a:p>
        </p:txBody>
      </p:sp>
      <p:sp>
        <p:nvSpPr>
          <p:cNvPr id="10" name="Rounded Rectangle 7">
            <a:extLst>
              <a:ext uri="{FF2B5EF4-FFF2-40B4-BE49-F238E27FC236}">
                <a16:creationId xmlns:a16="http://schemas.microsoft.com/office/drawing/2014/main" id="{5ECC56FE-BC22-4C5E-31CA-BC7C204EC598}"/>
              </a:ext>
            </a:extLst>
          </p:cNvPr>
          <p:cNvSpPr/>
          <p:nvPr/>
        </p:nvSpPr>
        <p:spPr>
          <a:xfrm rot="10800000">
            <a:off x="5267515" y="1124913"/>
            <a:ext cx="7173857" cy="4608174"/>
          </a:xfrm>
          <a:prstGeom prst="roundRect">
            <a:avLst>
              <a:gd name="adj" fmla="val 2795"/>
            </a:avLst>
          </a:prstGeom>
          <a:solidFill>
            <a:srgbClr val="FFFFFF"/>
          </a:solidFill>
          <a:ln w="19050" cap="rnd" cmpd="sng" algn="ctr">
            <a:noFill/>
            <a:prstDash val="solid"/>
            <a:miter lim="800000"/>
          </a:ln>
          <a:effectLst>
            <a:outerShdw blurRad="254000" algn="t" rotWithShape="0">
              <a:prstClr val="black">
                <a:alpha val="1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1" name="Rectangle: Rounded Corners 10">
            <a:extLst>
              <a:ext uri="{FF2B5EF4-FFF2-40B4-BE49-F238E27FC236}">
                <a16:creationId xmlns:a16="http://schemas.microsoft.com/office/drawing/2014/main" id="{C1883E4B-022F-93F8-67ED-3F19C410CF52}"/>
              </a:ext>
            </a:extLst>
          </p:cNvPr>
          <p:cNvSpPr/>
          <p:nvPr/>
        </p:nvSpPr>
        <p:spPr>
          <a:xfrm>
            <a:off x="5401773" y="1304197"/>
            <a:ext cx="6790227" cy="4253451"/>
          </a:xfrm>
          <a:prstGeom prst="roundRect">
            <a:avLst>
              <a:gd name="adj" fmla="val 5287"/>
            </a:avLst>
          </a:prstGeom>
          <a:solidFill>
            <a:srgbClr val="419FD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2" name="Rectangle: Rounded Corners 11">
            <a:extLst>
              <a:ext uri="{FF2B5EF4-FFF2-40B4-BE49-F238E27FC236}">
                <a16:creationId xmlns:a16="http://schemas.microsoft.com/office/drawing/2014/main" id="{854FF127-B811-ECEF-2CC0-CFE0BAC581D2}"/>
              </a:ext>
            </a:extLst>
          </p:cNvPr>
          <p:cNvSpPr/>
          <p:nvPr/>
        </p:nvSpPr>
        <p:spPr>
          <a:xfrm>
            <a:off x="5515740" y="1571374"/>
            <a:ext cx="2136072" cy="1626770"/>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3" name="Rectangle: Rounded Corners 12">
            <a:extLst>
              <a:ext uri="{FF2B5EF4-FFF2-40B4-BE49-F238E27FC236}">
                <a16:creationId xmlns:a16="http://schemas.microsoft.com/office/drawing/2014/main" id="{5359EA76-1961-9E0C-7015-61195F414DA5}"/>
              </a:ext>
            </a:extLst>
          </p:cNvPr>
          <p:cNvSpPr/>
          <p:nvPr/>
        </p:nvSpPr>
        <p:spPr>
          <a:xfrm>
            <a:off x="5679009" y="2137148"/>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4" name="TextBox 13">
            <a:extLst>
              <a:ext uri="{FF2B5EF4-FFF2-40B4-BE49-F238E27FC236}">
                <a16:creationId xmlns:a16="http://schemas.microsoft.com/office/drawing/2014/main" id="{96322FCC-5C6E-3CF0-F832-C01C84AB2221}"/>
              </a:ext>
            </a:extLst>
          </p:cNvPr>
          <p:cNvSpPr txBox="1"/>
          <p:nvPr/>
        </p:nvSpPr>
        <p:spPr>
          <a:xfrm>
            <a:off x="5565137" y="1725413"/>
            <a:ext cx="202641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Sans Text" panose="020F0502020204030204"/>
                <a:ea typeface="+mn-ea"/>
                <a:cs typeface="+mn-cs"/>
              </a:rPr>
              <a:t>AMERICAS_ Line of Business 1</a:t>
            </a:r>
          </a:p>
        </p:txBody>
      </p:sp>
      <p:sp>
        <p:nvSpPr>
          <p:cNvPr id="15" name="TextBox 14">
            <a:extLst>
              <a:ext uri="{FF2B5EF4-FFF2-40B4-BE49-F238E27FC236}">
                <a16:creationId xmlns:a16="http://schemas.microsoft.com/office/drawing/2014/main" id="{1D033586-0646-935A-2B99-1089B3C0087F}"/>
              </a:ext>
            </a:extLst>
          </p:cNvPr>
          <p:cNvSpPr txBox="1"/>
          <p:nvPr/>
        </p:nvSpPr>
        <p:spPr>
          <a:xfrm>
            <a:off x="5529908" y="1288473"/>
            <a:ext cx="295229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Catalog</a:t>
            </a:r>
          </a:p>
        </p:txBody>
      </p:sp>
      <p:sp>
        <p:nvSpPr>
          <p:cNvPr id="16" name="TextBox 15">
            <a:extLst>
              <a:ext uri="{FF2B5EF4-FFF2-40B4-BE49-F238E27FC236}">
                <a16:creationId xmlns:a16="http://schemas.microsoft.com/office/drawing/2014/main" id="{EAFEF90C-CD82-2621-1594-980F7B85AB8D}"/>
              </a:ext>
            </a:extLst>
          </p:cNvPr>
          <p:cNvSpPr txBox="1"/>
          <p:nvPr/>
        </p:nvSpPr>
        <p:spPr>
          <a:xfrm>
            <a:off x="5809884" y="2192254"/>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17" name="Rectangle: Rounded Corners 16">
            <a:extLst>
              <a:ext uri="{FF2B5EF4-FFF2-40B4-BE49-F238E27FC236}">
                <a16:creationId xmlns:a16="http://schemas.microsoft.com/office/drawing/2014/main" id="{A6C5DF6F-9DB4-2791-AD8A-B6CAC5259C6B}"/>
              </a:ext>
            </a:extLst>
          </p:cNvPr>
          <p:cNvSpPr/>
          <p:nvPr/>
        </p:nvSpPr>
        <p:spPr>
          <a:xfrm>
            <a:off x="7738205" y="1571373"/>
            <a:ext cx="2136072" cy="1626771"/>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8" name="Rectangle: Rounded Corners 17">
            <a:extLst>
              <a:ext uri="{FF2B5EF4-FFF2-40B4-BE49-F238E27FC236}">
                <a16:creationId xmlns:a16="http://schemas.microsoft.com/office/drawing/2014/main" id="{8ACBD941-4F48-B051-85DA-51AB5EB58EC2}"/>
              </a:ext>
            </a:extLst>
          </p:cNvPr>
          <p:cNvSpPr/>
          <p:nvPr/>
        </p:nvSpPr>
        <p:spPr>
          <a:xfrm>
            <a:off x="9939888" y="1571373"/>
            <a:ext cx="2136072" cy="1626771"/>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9" name="Rectangle: Rounded Corners 18">
            <a:extLst>
              <a:ext uri="{FF2B5EF4-FFF2-40B4-BE49-F238E27FC236}">
                <a16:creationId xmlns:a16="http://schemas.microsoft.com/office/drawing/2014/main" id="{2810B85F-8171-A05F-CB77-DC6F1F7BA37B}"/>
              </a:ext>
            </a:extLst>
          </p:cNvPr>
          <p:cNvSpPr/>
          <p:nvPr/>
        </p:nvSpPr>
        <p:spPr>
          <a:xfrm>
            <a:off x="5693177" y="2651272"/>
            <a:ext cx="1795098" cy="392834"/>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0" name="TextBox 19">
            <a:extLst>
              <a:ext uri="{FF2B5EF4-FFF2-40B4-BE49-F238E27FC236}">
                <a16:creationId xmlns:a16="http://schemas.microsoft.com/office/drawing/2014/main" id="{CEEEA8B9-4B15-DE51-5647-950F5DBD79FE}"/>
              </a:ext>
            </a:extLst>
          </p:cNvPr>
          <p:cNvSpPr txBox="1"/>
          <p:nvPr/>
        </p:nvSpPr>
        <p:spPr>
          <a:xfrm>
            <a:off x="5842397" y="2742844"/>
            <a:ext cx="15178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21" name="Rectangle: Rounded Corners 20">
            <a:extLst>
              <a:ext uri="{FF2B5EF4-FFF2-40B4-BE49-F238E27FC236}">
                <a16:creationId xmlns:a16="http://schemas.microsoft.com/office/drawing/2014/main" id="{2680C31C-7E65-02A3-222D-260AD50BC74A}"/>
              </a:ext>
            </a:extLst>
          </p:cNvPr>
          <p:cNvSpPr/>
          <p:nvPr/>
        </p:nvSpPr>
        <p:spPr>
          <a:xfrm>
            <a:off x="10084812" y="2173322"/>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2" name="TextBox 21">
            <a:extLst>
              <a:ext uri="{FF2B5EF4-FFF2-40B4-BE49-F238E27FC236}">
                <a16:creationId xmlns:a16="http://schemas.microsoft.com/office/drawing/2014/main" id="{3EEA4A79-5862-A2FF-F724-649A44EA61FA}"/>
              </a:ext>
            </a:extLst>
          </p:cNvPr>
          <p:cNvSpPr txBox="1"/>
          <p:nvPr/>
        </p:nvSpPr>
        <p:spPr>
          <a:xfrm>
            <a:off x="10215687" y="2228428"/>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23" name="Rectangle: Rounded Corners 22">
            <a:extLst>
              <a:ext uri="{FF2B5EF4-FFF2-40B4-BE49-F238E27FC236}">
                <a16:creationId xmlns:a16="http://schemas.microsoft.com/office/drawing/2014/main" id="{65081F0B-D26D-8F99-90E6-B4B62B5663E9}"/>
              </a:ext>
            </a:extLst>
          </p:cNvPr>
          <p:cNvSpPr/>
          <p:nvPr/>
        </p:nvSpPr>
        <p:spPr>
          <a:xfrm>
            <a:off x="10098980" y="2687446"/>
            <a:ext cx="1795098" cy="392834"/>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4" name="TextBox 23">
            <a:extLst>
              <a:ext uri="{FF2B5EF4-FFF2-40B4-BE49-F238E27FC236}">
                <a16:creationId xmlns:a16="http://schemas.microsoft.com/office/drawing/2014/main" id="{ADCC0E4A-B4DE-F51D-A18A-046FC9116378}"/>
              </a:ext>
            </a:extLst>
          </p:cNvPr>
          <p:cNvSpPr txBox="1"/>
          <p:nvPr/>
        </p:nvSpPr>
        <p:spPr>
          <a:xfrm>
            <a:off x="10248200" y="2779018"/>
            <a:ext cx="15178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25" name="Rectangle: Rounded Corners 24">
            <a:extLst>
              <a:ext uri="{FF2B5EF4-FFF2-40B4-BE49-F238E27FC236}">
                <a16:creationId xmlns:a16="http://schemas.microsoft.com/office/drawing/2014/main" id="{B1AFC83D-FACD-CDF5-3B1A-DBB91F36611F}"/>
              </a:ext>
            </a:extLst>
          </p:cNvPr>
          <p:cNvSpPr/>
          <p:nvPr/>
        </p:nvSpPr>
        <p:spPr>
          <a:xfrm>
            <a:off x="7899620" y="2126590"/>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6" name="TextBox 25">
            <a:extLst>
              <a:ext uri="{FF2B5EF4-FFF2-40B4-BE49-F238E27FC236}">
                <a16:creationId xmlns:a16="http://schemas.microsoft.com/office/drawing/2014/main" id="{B7AE4520-C5F4-FF84-1C27-ACABC6C43C8C}"/>
              </a:ext>
            </a:extLst>
          </p:cNvPr>
          <p:cNvSpPr txBox="1"/>
          <p:nvPr/>
        </p:nvSpPr>
        <p:spPr>
          <a:xfrm>
            <a:off x="8030495" y="2181696"/>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28" name="Rectangle: Rounded Corners 27">
            <a:extLst>
              <a:ext uri="{FF2B5EF4-FFF2-40B4-BE49-F238E27FC236}">
                <a16:creationId xmlns:a16="http://schemas.microsoft.com/office/drawing/2014/main" id="{B71E173F-94A9-95C6-F622-56A28ABE0FD8}"/>
              </a:ext>
            </a:extLst>
          </p:cNvPr>
          <p:cNvSpPr/>
          <p:nvPr/>
        </p:nvSpPr>
        <p:spPr>
          <a:xfrm>
            <a:off x="5581351" y="3450036"/>
            <a:ext cx="2136072" cy="1626770"/>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9" name="Rectangle: Rounded Corners 28">
            <a:extLst>
              <a:ext uri="{FF2B5EF4-FFF2-40B4-BE49-F238E27FC236}">
                <a16:creationId xmlns:a16="http://schemas.microsoft.com/office/drawing/2014/main" id="{834F07CA-BC0D-6B0D-3C14-A46EF0C7BBE8}"/>
              </a:ext>
            </a:extLst>
          </p:cNvPr>
          <p:cNvSpPr/>
          <p:nvPr/>
        </p:nvSpPr>
        <p:spPr>
          <a:xfrm>
            <a:off x="5744620" y="4015810"/>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30" name="TextBox 29">
            <a:extLst>
              <a:ext uri="{FF2B5EF4-FFF2-40B4-BE49-F238E27FC236}">
                <a16:creationId xmlns:a16="http://schemas.microsoft.com/office/drawing/2014/main" id="{D630F817-E0DD-063A-29EE-7BD002822082}"/>
              </a:ext>
            </a:extLst>
          </p:cNvPr>
          <p:cNvSpPr txBox="1"/>
          <p:nvPr/>
        </p:nvSpPr>
        <p:spPr>
          <a:xfrm>
            <a:off x="5875495" y="4070916"/>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31" name="Rectangle: Rounded Corners 30">
            <a:extLst>
              <a:ext uri="{FF2B5EF4-FFF2-40B4-BE49-F238E27FC236}">
                <a16:creationId xmlns:a16="http://schemas.microsoft.com/office/drawing/2014/main" id="{A581BD89-0294-3481-6AA5-39542EB708F8}"/>
              </a:ext>
            </a:extLst>
          </p:cNvPr>
          <p:cNvSpPr/>
          <p:nvPr/>
        </p:nvSpPr>
        <p:spPr>
          <a:xfrm>
            <a:off x="7803816" y="3450035"/>
            <a:ext cx="2136072" cy="1626771"/>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32" name="Rectangle: Rounded Corners 31">
            <a:extLst>
              <a:ext uri="{FF2B5EF4-FFF2-40B4-BE49-F238E27FC236}">
                <a16:creationId xmlns:a16="http://schemas.microsoft.com/office/drawing/2014/main" id="{FAD3BA97-9FD5-4485-11B9-1E62A3F78429}"/>
              </a:ext>
            </a:extLst>
          </p:cNvPr>
          <p:cNvSpPr/>
          <p:nvPr/>
        </p:nvSpPr>
        <p:spPr>
          <a:xfrm>
            <a:off x="7965231" y="4005252"/>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33" name="TextBox 32">
            <a:extLst>
              <a:ext uri="{FF2B5EF4-FFF2-40B4-BE49-F238E27FC236}">
                <a16:creationId xmlns:a16="http://schemas.microsoft.com/office/drawing/2014/main" id="{5C51EAA2-B327-196C-45D7-7BCA82AC0DD2}"/>
              </a:ext>
            </a:extLst>
          </p:cNvPr>
          <p:cNvSpPr txBox="1"/>
          <p:nvPr/>
        </p:nvSpPr>
        <p:spPr>
          <a:xfrm>
            <a:off x="8096106" y="4060358"/>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34" name="TextBox 33">
            <a:extLst>
              <a:ext uri="{FF2B5EF4-FFF2-40B4-BE49-F238E27FC236}">
                <a16:creationId xmlns:a16="http://schemas.microsoft.com/office/drawing/2014/main" id="{C642096D-A2C4-4968-A2C4-8CFA6D38E804}"/>
              </a:ext>
            </a:extLst>
          </p:cNvPr>
          <p:cNvSpPr txBox="1"/>
          <p:nvPr/>
        </p:nvSpPr>
        <p:spPr>
          <a:xfrm>
            <a:off x="5581351" y="3563371"/>
            <a:ext cx="202641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Sans Text" panose="020F0502020204030204"/>
                <a:ea typeface="+mn-ea"/>
                <a:cs typeface="+mn-cs"/>
              </a:rPr>
              <a:t>AMERICAS_ Line of Business 2</a:t>
            </a:r>
          </a:p>
        </p:txBody>
      </p:sp>
      <p:sp>
        <p:nvSpPr>
          <p:cNvPr id="36" name="TextBox 35">
            <a:extLst>
              <a:ext uri="{FF2B5EF4-FFF2-40B4-BE49-F238E27FC236}">
                <a16:creationId xmlns:a16="http://schemas.microsoft.com/office/drawing/2014/main" id="{B6B57C20-4DFE-9603-0744-22D2CC2ECE39}"/>
              </a:ext>
            </a:extLst>
          </p:cNvPr>
          <p:cNvSpPr txBox="1"/>
          <p:nvPr/>
        </p:nvSpPr>
        <p:spPr>
          <a:xfrm>
            <a:off x="7761697" y="1678863"/>
            <a:ext cx="202641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EMEA_ Line of Business 1</a:t>
            </a:r>
          </a:p>
        </p:txBody>
      </p:sp>
      <p:sp>
        <p:nvSpPr>
          <p:cNvPr id="41" name="TextBox 40">
            <a:extLst>
              <a:ext uri="{FF2B5EF4-FFF2-40B4-BE49-F238E27FC236}">
                <a16:creationId xmlns:a16="http://schemas.microsoft.com/office/drawing/2014/main" id="{5FBA45D9-C77E-9250-BC0E-069B50B378ED}"/>
              </a:ext>
            </a:extLst>
          </p:cNvPr>
          <p:cNvSpPr txBox="1"/>
          <p:nvPr/>
        </p:nvSpPr>
        <p:spPr>
          <a:xfrm>
            <a:off x="7803816" y="3542285"/>
            <a:ext cx="202641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APAC_ Line of Business 1</a:t>
            </a:r>
          </a:p>
        </p:txBody>
      </p:sp>
      <p:sp>
        <p:nvSpPr>
          <p:cNvPr id="42" name="TextBox 41">
            <a:extLst>
              <a:ext uri="{FF2B5EF4-FFF2-40B4-BE49-F238E27FC236}">
                <a16:creationId xmlns:a16="http://schemas.microsoft.com/office/drawing/2014/main" id="{DDF945F8-799D-CAA6-0226-272D18D7C4A9}"/>
              </a:ext>
            </a:extLst>
          </p:cNvPr>
          <p:cNvSpPr txBox="1"/>
          <p:nvPr/>
        </p:nvSpPr>
        <p:spPr>
          <a:xfrm>
            <a:off x="9960670" y="1668182"/>
            <a:ext cx="202641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Corporate</a:t>
            </a:r>
          </a:p>
        </p:txBody>
      </p:sp>
    </p:spTree>
    <p:extLst>
      <p:ext uri="{BB962C8B-B14F-4D97-AF65-F5344CB8AC3E}">
        <p14:creationId xmlns:p14="http://schemas.microsoft.com/office/powerpoint/2010/main" val="934781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ounded Rectangle 7">
            <a:extLst>
              <a:ext uri="{FF2B5EF4-FFF2-40B4-BE49-F238E27FC236}">
                <a16:creationId xmlns:a16="http://schemas.microsoft.com/office/drawing/2014/main" id="{2E983643-E1AF-BFF4-D662-C9D94B5B453C}"/>
              </a:ext>
            </a:extLst>
          </p:cNvPr>
          <p:cNvSpPr/>
          <p:nvPr/>
        </p:nvSpPr>
        <p:spPr>
          <a:xfrm rot="10800000">
            <a:off x="5267515" y="1124913"/>
            <a:ext cx="7173857" cy="4608174"/>
          </a:xfrm>
          <a:prstGeom prst="roundRect">
            <a:avLst>
              <a:gd name="adj" fmla="val 2795"/>
            </a:avLst>
          </a:prstGeom>
          <a:solidFill>
            <a:srgbClr val="FFFFFF"/>
          </a:solidFill>
          <a:ln w="19050" cap="rnd" cmpd="sng" algn="ctr">
            <a:noFill/>
            <a:prstDash val="solid"/>
            <a:miter lim="800000"/>
          </a:ln>
          <a:effectLst>
            <a:outerShdw blurRad="254000" algn="t" rotWithShape="0">
              <a:prstClr val="black">
                <a:alpha val="1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03" name="Slide Number Placeholder 2">
            <a:extLst>
              <a:ext uri="{FF2B5EF4-FFF2-40B4-BE49-F238E27FC236}">
                <a16:creationId xmlns:a16="http://schemas.microsoft.com/office/drawing/2014/main" id="{4D05BB88-7143-6B65-339A-70E9FEE7934E}"/>
              </a:ext>
            </a:extLst>
          </p:cNvPr>
          <p:cNvSpPr txBox="1">
            <a:spLocks/>
          </p:cNvSpPr>
          <p:nvPr/>
        </p:nvSpPr>
        <p:spPr>
          <a:xfrm>
            <a:off x="563563" y="6311900"/>
            <a:ext cx="399288"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FFFFFF"/>
                </a:solidFill>
                <a:effectLst/>
                <a:uLnTx/>
                <a:uFillTx/>
                <a:latin typeface="Segoe Sans Text"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04" name="Round Single Corner Rectangle 1">
            <a:extLst>
              <a:ext uri="{FF2B5EF4-FFF2-40B4-BE49-F238E27FC236}">
                <a16:creationId xmlns:a16="http://schemas.microsoft.com/office/drawing/2014/main" id="{6F2ED321-1E55-85F2-01BF-17B77A437AAC}"/>
              </a:ext>
            </a:extLst>
          </p:cNvPr>
          <p:cNvSpPr/>
          <p:nvPr/>
        </p:nvSpPr>
        <p:spPr>
          <a:xfrm flipV="1">
            <a:off x="1" y="0"/>
            <a:ext cx="4930814" cy="5995686"/>
          </a:xfrm>
          <a:prstGeom prst="round1Rect">
            <a:avLst>
              <a:gd name="adj" fmla="val 15471"/>
            </a:avLst>
          </a:prstGeom>
          <a:gradFill>
            <a:gsLst>
              <a:gs pos="100000">
                <a:srgbClr val="23395C"/>
              </a:gs>
              <a:gs pos="0">
                <a:srgbClr val="1C1C1C">
                  <a:lumMod val="100000"/>
                </a:srgbClr>
              </a:gs>
            </a:gsLst>
            <a:lin ang="78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05" name="Text Placeholder 16">
            <a:extLst>
              <a:ext uri="{FF2B5EF4-FFF2-40B4-BE49-F238E27FC236}">
                <a16:creationId xmlns:a16="http://schemas.microsoft.com/office/drawing/2014/main" id="{0867168D-BB26-5350-1A4A-0AD233A1BD73}"/>
              </a:ext>
            </a:extLst>
          </p:cNvPr>
          <p:cNvSpPr txBox="1">
            <a:spLocks/>
          </p:cNvSpPr>
          <p:nvPr/>
        </p:nvSpPr>
        <p:spPr>
          <a:xfrm>
            <a:off x="470959" y="1829272"/>
            <a:ext cx="3983397" cy="55238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FFFFFF"/>
                </a:solidFill>
                <a:effectLst/>
                <a:uLnTx/>
                <a:uFillTx/>
                <a:latin typeface="Segoe Sans Display" panose="020F0302020204030204"/>
                <a:ea typeface="+mn-ea"/>
                <a:cs typeface="Segoe UI" panose="020B0502040204020203" pitchFamily="34" charset="0"/>
              </a:rPr>
              <a:t>Domain Mix</a:t>
            </a:r>
          </a:p>
        </p:txBody>
      </p:sp>
      <p:sp>
        <p:nvSpPr>
          <p:cNvPr id="106" name="Text Placeholder 16">
            <a:extLst>
              <a:ext uri="{FF2B5EF4-FFF2-40B4-BE49-F238E27FC236}">
                <a16:creationId xmlns:a16="http://schemas.microsoft.com/office/drawing/2014/main" id="{D2DD33AD-EB78-AAE1-85C1-72D1F81A3C56}"/>
              </a:ext>
            </a:extLst>
          </p:cNvPr>
          <p:cNvSpPr txBox="1">
            <a:spLocks/>
          </p:cNvSpPr>
          <p:nvPr/>
        </p:nvSpPr>
        <p:spPr>
          <a:xfrm>
            <a:off x="470959" y="2411163"/>
            <a:ext cx="4184160" cy="204125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1600" b="0" i="0" u="none" strike="noStrike" kern="1200" cap="none" spc="0" normalizeH="0" baseline="0" noProof="0">
                <a:ln>
                  <a:noFill/>
                </a:ln>
                <a:solidFill>
                  <a:srgbClr val="FFFFFF"/>
                </a:solidFill>
                <a:effectLst/>
                <a:uLnTx/>
                <a:uFillTx/>
                <a:latin typeface="Segoe Sans Text" panose="020F0502020204030204"/>
                <a:ea typeface="+mn-ea"/>
                <a:cs typeface="Segoe UI" panose="020B0502040204020203" pitchFamily="34" charset="0"/>
              </a:rPr>
              <a:t>A combination of domains across subject areas/data domains, functional domains, regulatory domains, and project domains align your data to its experts. In the data catalog, your data experts are your most powerful resource; they know what policies need to be applied and what others need to know to make the most use of the data. This structure will also be the most durable to organizational updates, since it's based on how the data is used in the day-to-day, instead of on business structure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FFFFFF"/>
              </a:solidFill>
              <a:effectLst/>
              <a:uLnTx/>
              <a:uFillTx/>
              <a:latin typeface="Segoe Sans Text" panose="020F0502020204030204"/>
              <a:ea typeface="+mn-ea"/>
              <a:cs typeface="Segoe UI" panose="020B0502040204020203" pitchFamily="34" charset="0"/>
            </a:endParaRPr>
          </a:p>
        </p:txBody>
      </p:sp>
      <p:sp>
        <p:nvSpPr>
          <p:cNvPr id="107" name="Freeform 51">
            <a:extLst>
              <a:ext uri="{FF2B5EF4-FFF2-40B4-BE49-F238E27FC236}">
                <a16:creationId xmlns:a16="http://schemas.microsoft.com/office/drawing/2014/main" id="{8FDD73F4-82EE-786B-8C6C-150AADAC32AF}"/>
              </a:ext>
            </a:extLst>
          </p:cNvPr>
          <p:cNvSpPr/>
          <p:nvPr/>
        </p:nvSpPr>
        <p:spPr>
          <a:xfrm>
            <a:off x="372189" y="1121305"/>
            <a:ext cx="3200400" cy="402336"/>
          </a:xfrm>
          <a:prstGeom prst="roundRect">
            <a:avLst>
              <a:gd name="adj" fmla="val 50000"/>
            </a:avLst>
          </a:prstGeom>
          <a:solidFill>
            <a:srgbClr val="4FC6B3"/>
          </a:solidFill>
          <a:ln w="12700" cap="flat" cmpd="sng" algn="ctr">
            <a:noFill/>
            <a:prstDash val="solid"/>
            <a:miter lim="800000"/>
          </a:ln>
          <a:effectLst>
            <a:outerShdw blurRad="50800" dist="38100" dir="2700000" algn="tl" rotWithShape="0">
              <a:prstClr val="black">
                <a:alpha val="20000"/>
              </a:prstClr>
            </a:outerShdw>
          </a:effectLst>
        </p:spPr>
        <p:txBody>
          <a:bodyPr wrap="non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noProof="0">
                <a:ln>
                  <a:noFill/>
                </a:ln>
                <a:solidFill>
                  <a:srgbClr val="FFFFFF"/>
                </a:solidFill>
                <a:effectLst/>
                <a:uLnTx/>
                <a:uFillTx/>
                <a:latin typeface="Segoe UI Semibold"/>
                <a:ea typeface="+mn-ea"/>
                <a:cs typeface="+mn-cs"/>
              </a:rPr>
              <a:t>BEST</a:t>
            </a:r>
          </a:p>
        </p:txBody>
      </p:sp>
      <p:sp>
        <p:nvSpPr>
          <p:cNvPr id="108" name="Rectangle: Rounded Corners 107">
            <a:extLst>
              <a:ext uri="{FF2B5EF4-FFF2-40B4-BE49-F238E27FC236}">
                <a16:creationId xmlns:a16="http://schemas.microsoft.com/office/drawing/2014/main" id="{D537C0A4-C96A-D912-55D8-49CCEDEE4564}"/>
              </a:ext>
            </a:extLst>
          </p:cNvPr>
          <p:cNvSpPr/>
          <p:nvPr/>
        </p:nvSpPr>
        <p:spPr>
          <a:xfrm>
            <a:off x="5401773" y="1304197"/>
            <a:ext cx="6790227" cy="4253451"/>
          </a:xfrm>
          <a:prstGeom prst="roundRect">
            <a:avLst>
              <a:gd name="adj" fmla="val 5287"/>
            </a:avLst>
          </a:prstGeom>
          <a:solidFill>
            <a:srgbClr val="419FD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09" name="TextBox 108">
            <a:extLst>
              <a:ext uri="{FF2B5EF4-FFF2-40B4-BE49-F238E27FC236}">
                <a16:creationId xmlns:a16="http://schemas.microsoft.com/office/drawing/2014/main" id="{19759E66-798A-2BCD-8FD1-C02F68006FC7}"/>
              </a:ext>
            </a:extLst>
          </p:cNvPr>
          <p:cNvSpPr txBox="1"/>
          <p:nvPr/>
        </p:nvSpPr>
        <p:spPr>
          <a:xfrm>
            <a:off x="5529908" y="1288473"/>
            <a:ext cx="295229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Catalog</a:t>
            </a:r>
          </a:p>
        </p:txBody>
      </p:sp>
      <p:sp>
        <p:nvSpPr>
          <p:cNvPr id="110" name="Rectangle: Rounded Corners 109">
            <a:extLst>
              <a:ext uri="{FF2B5EF4-FFF2-40B4-BE49-F238E27FC236}">
                <a16:creationId xmlns:a16="http://schemas.microsoft.com/office/drawing/2014/main" id="{17DA0601-53F0-BEEE-CB42-5FB3B47FC300}"/>
              </a:ext>
            </a:extLst>
          </p:cNvPr>
          <p:cNvSpPr/>
          <p:nvPr/>
        </p:nvSpPr>
        <p:spPr>
          <a:xfrm>
            <a:off x="5581351" y="1647825"/>
            <a:ext cx="2136072" cy="1667475"/>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11" name="TextBox 110">
            <a:extLst>
              <a:ext uri="{FF2B5EF4-FFF2-40B4-BE49-F238E27FC236}">
                <a16:creationId xmlns:a16="http://schemas.microsoft.com/office/drawing/2014/main" id="{CA259FB5-6161-923D-850A-DB35A5D86001}"/>
              </a:ext>
            </a:extLst>
          </p:cNvPr>
          <p:cNvSpPr txBox="1"/>
          <p:nvPr/>
        </p:nvSpPr>
        <p:spPr>
          <a:xfrm>
            <a:off x="5630749" y="1801865"/>
            <a:ext cx="15953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Finance</a:t>
            </a:r>
          </a:p>
        </p:txBody>
      </p:sp>
      <p:sp>
        <p:nvSpPr>
          <p:cNvPr id="112" name="Rectangle: Rounded Corners 111">
            <a:extLst>
              <a:ext uri="{FF2B5EF4-FFF2-40B4-BE49-F238E27FC236}">
                <a16:creationId xmlns:a16="http://schemas.microsoft.com/office/drawing/2014/main" id="{E5B7398D-84BC-3A6C-5B40-2736DC2A8D55}"/>
              </a:ext>
            </a:extLst>
          </p:cNvPr>
          <p:cNvSpPr/>
          <p:nvPr/>
        </p:nvSpPr>
        <p:spPr>
          <a:xfrm>
            <a:off x="9993279" y="1621294"/>
            <a:ext cx="2136072" cy="1626771"/>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13" name="TextBox 112">
            <a:extLst>
              <a:ext uri="{FF2B5EF4-FFF2-40B4-BE49-F238E27FC236}">
                <a16:creationId xmlns:a16="http://schemas.microsoft.com/office/drawing/2014/main" id="{2475647C-1A9F-C6CF-D65E-38C1FEA49F47}"/>
              </a:ext>
            </a:extLst>
          </p:cNvPr>
          <p:cNvSpPr txBox="1"/>
          <p:nvPr/>
        </p:nvSpPr>
        <p:spPr>
          <a:xfrm>
            <a:off x="10042677" y="1775334"/>
            <a:ext cx="179509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HR</a:t>
            </a:r>
          </a:p>
        </p:txBody>
      </p:sp>
      <p:sp>
        <p:nvSpPr>
          <p:cNvPr id="114" name="Rectangle: Rounded Corners 113">
            <a:extLst>
              <a:ext uri="{FF2B5EF4-FFF2-40B4-BE49-F238E27FC236}">
                <a16:creationId xmlns:a16="http://schemas.microsoft.com/office/drawing/2014/main" id="{DB291547-C44F-556E-492D-885FC0CFBEBA}"/>
              </a:ext>
            </a:extLst>
          </p:cNvPr>
          <p:cNvSpPr/>
          <p:nvPr/>
        </p:nvSpPr>
        <p:spPr>
          <a:xfrm>
            <a:off x="10138203" y="2223243"/>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15" name="TextBox 114">
            <a:extLst>
              <a:ext uri="{FF2B5EF4-FFF2-40B4-BE49-F238E27FC236}">
                <a16:creationId xmlns:a16="http://schemas.microsoft.com/office/drawing/2014/main" id="{BEB60737-E64E-7A1B-3086-6C007A1097B4}"/>
              </a:ext>
            </a:extLst>
          </p:cNvPr>
          <p:cNvSpPr txBox="1"/>
          <p:nvPr/>
        </p:nvSpPr>
        <p:spPr>
          <a:xfrm>
            <a:off x="10269078" y="2278349"/>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116" name="Rectangle: Rounded Corners 115">
            <a:extLst>
              <a:ext uri="{FF2B5EF4-FFF2-40B4-BE49-F238E27FC236}">
                <a16:creationId xmlns:a16="http://schemas.microsoft.com/office/drawing/2014/main" id="{EC8FA68F-5762-94FC-24C6-77B6560A3FFE}"/>
              </a:ext>
            </a:extLst>
          </p:cNvPr>
          <p:cNvSpPr/>
          <p:nvPr/>
        </p:nvSpPr>
        <p:spPr>
          <a:xfrm>
            <a:off x="10152371" y="2737367"/>
            <a:ext cx="1795098" cy="392834"/>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17" name="TextBox 116">
            <a:extLst>
              <a:ext uri="{FF2B5EF4-FFF2-40B4-BE49-F238E27FC236}">
                <a16:creationId xmlns:a16="http://schemas.microsoft.com/office/drawing/2014/main" id="{8E4A44EB-D5F8-6C45-F8EB-2EAF90E6A415}"/>
              </a:ext>
            </a:extLst>
          </p:cNvPr>
          <p:cNvSpPr txBox="1"/>
          <p:nvPr/>
        </p:nvSpPr>
        <p:spPr>
          <a:xfrm>
            <a:off x="10301591" y="2828939"/>
            <a:ext cx="15178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118" name="Rectangle: Rounded Corners 117">
            <a:extLst>
              <a:ext uri="{FF2B5EF4-FFF2-40B4-BE49-F238E27FC236}">
                <a16:creationId xmlns:a16="http://schemas.microsoft.com/office/drawing/2014/main" id="{EA44717D-3103-46FC-297C-A80341C1E260}"/>
              </a:ext>
            </a:extLst>
          </p:cNvPr>
          <p:cNvSpPr/>
          <p:nvPr/>
        </p:nvSpPr>
        <p:spPr>
          <a:xfrm>
            <a:off x="5742766" y="2203042"/>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19" name="TextBox 118">
            <a:extLst>
              <a:ext uri="{FF2B5EF4-FFF2-40B4-BE49-F238E27FC236}">
                <a16:creationId xmlns:a16="http://schemas.microsoft.com/office/drawing/2014/main" id="{7FF31091-E781-DD21-8532-DF1F2E3B5A9C}"/>
              </a:ext>
            </a:extLst>
          </p:cNvPr>
          <p:cNvSpPr txBox="1"/>
          <p:nvPr/>
        </p:nvSpPr>
        <p:spPr>
          <a:xfrm>
            <a:off x="5873641" y="2258148"/>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120" name="Rectangle: Rounded Corners 119">
            <a:extLst>
              <a:ext uri="{FF2B5EF4-FFF2-40B4-BE49-F238E27FC236}">
                <a16:creationId xmlns:a16="http://schemas.microsoft.com/office/drawing/2014/main" id="{762A5AF8-E4F3-B785-3CE1-14E499A0A8EC}"/>
              </a:ext>
            </a:extLst>
          </p:cNvPr>
          <p:cNvSpPr/>
          <p:nvPr/>
        </p:nvSpPr>
        <p:spPr>
          <a:xfrm>
            <a:off x="5581351" y="3450037"/>
            <a:ext cx="2136072" cy="1005184"/>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21" name="Rectangle: Rounded Corners 120">
            <a:extLst>
              <a:ext uri="{FF2B5EF4-FFF2-40B4-BE49-F238E27FC236}">
                <a16:creationId xmlns:a16="http://schemas.microsoft.com/office/drawing/2014/main" id="{F0098A1C-B7E8-84F8-5C92-D671FEC95F7E}"/>
              </a:ext>
            </a:extLst>
          </p:cNvPr>
          <p:cNvSpPr/>
          <p:nvPr/>
        </p:nvSpPr>
        <p:spPr>
          <a:xfrm>
            <a:off x="5744620" y="3849554"/>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22" name="TextBox 121">
            <a:extLst>
              <a:ext uri="{FF2B5EF4-FFF2-40B4-BE49-F238E27FC236}">
                <a16:creationId xmlns:a16="http://schemas.microsoft.com/office/drawing/2014/main" id="{6BABCC12-2DED-56B2-CFF0-75442EAFABAE}"/>
              </a:ext>
            </a:extLst>
          </p:cNvPr>
          <p:cNvSpPr txBox="1"/>
          <p:nvPr/>
        </p:nvSpPr>
        <p:spPr>
          <a:xfrm>
            <a:off x="5630748" y="3500165"/>
            <a:ext cx="212762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AMERICAS_ Line of Business</a:t>
            </a:r>
          </a:p>
        </p:txBody>
      </p:sp>
      <p:sp>
        <p:nvSpPr>
          <p:cNvPr id="123" name="TextBox 122">
            <a:extLst>
              <a:ext uri="{FF2B5EF4-FFF2-40B4-BE49-F238E27FC236}">
                <a16:creationId xmlns:a16="http://schemas.microsoft.com/office/drawing/2014/main" id="{6DE0AD11-E14A-73E8-CC92-1CC0BE366CC0}"/>
              </a:ext>
            </a:extLst>
          </p:cNvPr>
          <p:cNvSpPr txBox="1"/>
          <p:nvPr/>
        </p:nvSpPr>
        <p:spPr>
          <a:xfrm>
            <a:off x="5875495" y="3904660"/>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124" name="Rectangle: Rounded Corners 123">
            <a:extLst>
              <a:ext uri="{FF2B5EF4-FFF2-40B4-BE49-F238E27FC236}">
                <a16:creationId xmlns:a16="http://schemas.microsoft.com/office/drawing/2014/main" id="{F255930E-4504-4A6F-4CCF-201157EFE137}"/>
              </a:ext>
            </a:extLst>
          </p:cNvPr>
          <p:cNvSpPr/>
          <p:nvPr/>
        </p:nvSpPr>
        <p:spPr>
          <a:xfrm>
            <a:off x="7803816" y="3450036"/>
            <a:ext cx="2136072" cy="1005185"/>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25" name="TextBox 124">
            <a:extLst>
              <a:ext uri="{FF2B5EF4-FFF2-40B4-BE49-F238E27FC236}">
                <a16:creationId xmlns:a16="http://schemas.microsoft.com/office/drawing/2014/main" id="{690B1079-E2EA-1DEA-D9BF-EF9B229959B9}"/>
              </a:ext>
            </a:extLst>
          </p:cNvPr>
          <p:cNvSpPr txBox="1"/>
          <p:nvPr/>
        </p:nvSpPr>
        <p:spPr>
          <a:xfrm>
            <a:off x="7853214" y="3500165"/>
            <a:ext cx="15953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Program 1</a:t>
            </a:r>
          </a:p>
        </p:txBody>
      </p:sp>
      <p:sp>
        <p:nvSpPr>
          <p:cNvPr id="126" name="Rectangle: Rounded Corners 125">
            <a:extLst>
              <a:ext uri="{FF2B5EF4-FFF2-40B4-BE49-F238E27FC236}">
                <a16:creationId xmlns:a16="http://schemas.microsoft.com/office/drawing/2014/main" id="{558D414C-4709-AA5B-3752-5F9159ABC348}"/>
              </a:ext>
            </a:extLst>
          </p:cNvPr>
          <p:cNvSpPr/>
          <p:nvPr/>
        </p:nvSpPr>
        <p:spPr>
          <a:xfrm>
            <a:off x="7965231" y="3838996"/>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27" name="TextBox 126">
            <a:extLst>
              <a:ext uri="{FF2B5EF4-FFF2-40B4-BE49-F238E27FC236}">
                <a16:creationId xmlns:a16="http://schemas.microsoft.com/office/drawing/2014/main" id="{8D6C483C-5AA4-3573-A4AF-17AFDD86C017}"/>
              </a:ext>
            </a:extLst>
          </p:cNvPr>
          <p:cNvSpPr txBox="1"/>
          <p:nvPr/>
        </p:nvSpPr>
        <p:spPr>
          <a:xfrm>
            <a:off x="8096106" y="3894102"/>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128" name="Rectangle: Rounded Corners 127">
            <a:extLst>
              <a:ext uri="{FF2B5EF4-FFF2-40B4-BE49-F238E27FC236}">
                <a16:creationId xmlns:a16="http://schemas.microsoft.com/office/drawing/2014/main" id="{8D848D9F-262F-047A-56E3-79E1A609FB12}"/>
              </a:ext>
            </a:extLst>
          </p:cNvPr>
          <p:cNvSpPr/>
          <p:nvPr/>
        </p:nvSpPr>
        <p:spPr>
          <a:xfrm>
            <a:off x="10021174" y="3431949"/>
            <a:ext cx="2136072" cy="1020468"/>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29" name="TextBox 128">
            <a:extLst>
              <a:ext uri="{FF2B5EF4-FFF2-40B4-BE49-F238E27FC236}">
                <a16:creationId xmlns:a16="http://schemas.microsoft.com/office/drawing/2014/main" id="{94B21EE4-F4F9-8808-9388-E0F2E4277D49}"/>
              </a:ext>
            </a:extLst>
          </p:cNvPr>
          <p:cNvSpPr txBox="1"/>
          <p:nvPr/>
        </p:nvSpPr>
        <p:spPr>
          <a:xfrm>
            <a:off x="10070572" y="3482078"/>
            <a:ext cx="179509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Project 1</a:t>
            </a:r>
          </a:p>
        </p:txBody>
      </p:sp>
      <p:sp>
        <p:nvSpPr>
          <p:cNvPr id="130" name="Rectangle: Rounded Corners 129">
            <a:extLst>
              <a:ext uri="{FF2B5EF4-FFF2-40B4-BE49-F238E27FC236}">
                <a16:creationId xmlns:a16="http://schemas.microsoft.com/office/drawing/2014/main" id="{3B7C9721-E280-81C3-0FD7-EB7F343AFA4A}"/>
              </a:ext>
            </a:extLst>
          </p:cNvPr>
          <p:cNvSpPr/>
          <p:nvPr/>
        </p:nvSpPr>
        <p:spPr>
          <a:xfrm>
            <a:off x="10166098" y="3867641"/>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31" name="TextBox 130">
            <a:extLst>
              <a:ext uri="{FF2B5EF4-FFF2-40B4-BE49-F238E27FC236}">
                <a16:creationId xmlns:a16="http://schemas.microsoft.com/office/drawing/2014/main" id="{B7C3E8F4-4EF2-A4E8-997D-0723484441F0}"/>
              </a:ext>
            </a:extLst>
          </p:cNvPr>
          <p:cNvSpPr txBox="1"/>
          <p:nvPr/>
        </p:nvSpPr>
        <p:spPr>
          <a:xfrm>
            <a:off x="10296973" y="3922747"/>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132" name="Rectangle: Rounded Corners 131">
            <a:extLst>
              <a:ext uri="{FF2B5EF4-FFF2-40B4-BE49-F238E27FC236}">
                <a16:creationId xmlns:a16="http://schemas.microsoft.com/office/drawing/2014/main" id="{C0829E7B-8EF5-6BDE-A4B4-018D7BBB3D36}"/>
              </a:ext>
            </a:extLst>
          </p:cNvPr>
          <p:cNvSpPr/>
          <p:nvPr/>
        </p:nvSpPr>
        <p:spPr>
          <a:xfrm>
            <a:off x="7794558" y="1653886"/>
            <a:ext cx="2136072" cy="1626770"/>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33" name="Rectangle: Rounded Corners 132">
            <a:extLst>
              <a:ext uri="{FF2B5EF4-FFF2-40B4-BE49-F238E27FC236}">
                <a16:creationId xmlns:a16="http://schemas.microsoft.com/office/drawing/2014/main" id="{8A24659C-5783-AE99-47D9-64086BEC440E}"/>
              </a:ext>
            </a:extLst>
          </p:cNvPr>
          <p:cNvSpPr/>
          <p:nvPr/>
        </p:nvSpPr>
        <p:spPr>
          <a:xfrm>
            <a:off x="7957827" y="2219660"/>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34" name="TextBox 133">
            <a:extLst>
              <a:ext uri="{FF2B5EF4-FFF2-40B4-BE49-F238E27FC236}">
                <a16:creationId xmlns:a16="http://schemas.microsoft.com/office/drawing/2014/main" id="{1E0B3A37-537E-74AC-1030-D7D92CC9273B}"/>
              </a:ext>
            </a:extLst>
          </p:cNvPr>
          <p:cNvSpPr txBox="1"/>
          <p:nvPr/>
        </p:nvSpPr>
        <p:spPr>
          <a:xfrm>
            <a:off x="7843956" y="1807925"/>
            <a:ext cx="179509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Marketing</a:t>
            </a:r>
          </a:p>
        </p:txBody>
      </p:sp>
      <p:sp>
        <p:nvSpPr>
          <p:cNvPr id="135" name="TextBox 134">
            <a:extLst>
              <a:ext uri="{FF2B5EF4-FFF2-40B4-BE49-F238E27FC236}">
                <a16:creationId xmlns:a16="http://schemas.microsoft.com/office/drawing/2014/main" id="{01F34CA9-E0C9-133A-9A3B-BB2C03A3547F}"/>
              </a:ext>
            </a:extLst>
          </p:cNvPr>
          <p:cNvSpPr txBox="1"/>
          <p:nvPr/>
        </p:nvSpPr>
        <p:spPr>
          <a:xfrm>
            <a:off x="8088702" y="2274766"/>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136" name="Rectangle: Rounded Corners 135">
            <a:extLst>
              <a:ext uri="{FF2B5EF4-FFF2-40B4-BE49-F238E27FC236}">
                <a16:creationId xmlns:a16="http://schemas.microsoft.com/office/drawing/2014/main" id="{4827EC2D-6824-CFE8-B498-38AA86FB710B}"/>
              </a:ext>
            </a:extLst>
          </p:cNvPr>
          <p:cNvSpPr/>
          <p:nvPr/>
        </p:nvSpPr>
        <p:spPr>
          <a:xfrm>
            <a:off x="7971995" y="2733784"/>
            <a:ext cx="1795098" cy="392834"/>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37" name="TextBox 136">
            <a:extLst>
              <a:ext uri="{FF2B5EF4-FFF2-40B4-BE49-F238E27FC236}">
                <a16:creationId xmlns:a16="http://schemas.microsoft.com/office/drawing/2014/main" id="{F3366748-E82E-B96F-2662-348D84876EEB}"/>
              </a:ext>
            </a:extLst>
          </p:cNvPr>
          <p:cNvSpPr txBox="1"/>
          <p:nvPr/>
        </p:nvSpPr>
        <p:spPr>
          <a:xfrm>
            <a:off x="8121215" y="2825356"/>
            <a:ext cx="15178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138" name="Rectangle: Rounded Corners 137">
            <a:extLst>
              <a:ext uri="{FF2B5EF4-FFF2-40B4-BE49-F238E27FC236}">
                <a16:creationId xmlns:a16="http://schemas.microsoft.com/office/drawing/2014/main" id="{96750075-9349-B519-3A97-1EA09A4B8606}"/>
              </a:ext>
            </a:extLst>
          </p:cNvPr>
          <p:cNvSpPr/>
          <p:nvPr/>
        </p:nvSpPr>
        <p:spPr>
          <a:xfrm>
            <a:off x="5581351" y="4548828"/>
            <a:ext cx="2136072" cy="1005184"/>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39" name="Rectangle: Rounded Corners 138">
            <a:extLst>
              <a:ext uri="{FF2B5EF4-FFF2-40B4-BE49-F238E27FC236}">
                <a16:creationId xmlns:a16="http://schemas.microsoft.com/office/drawing/2014/main" id="{EA4D10C5-FBD3-2842-6BEB-65F2B75AA735}"/>
              </a:ext>
            </a:extLst>
          </p:cNvPr>
          <p:cNvSpPr/>
          <p:nvPr/>
        </p:nvSpPr>
        <p:spPr>
          <a:xfrm>
            <a:off x="5744620" y="4948345"/>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40" name="TextBox 139">
            <a:extLst>
              <a:ext uri="{FF2B5EF4-FFF2-40B4-BE49-F238E27FC236}">
                <a16:creationId xmlns:a16="http://schemas.microsoft.com/office/drawing/2014/main" id="{B915D3E2-2056-2309-A97A-79D98334CF4B}"/>
              </a:ext>
            </a:extLst>
          </p:cNvPr>
          <p:cNvSpPr txBox="1"/>
          <p:nvPr/>
        </p:nvSpPr>
        <p:spPr>
          <a:xfrm>
            <a:off x="5630749" y="4598956"/>
            <a:ext cx="204290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APAC_ Line of Business 1</a:t>
            </a:r>
          </a:p>
        </p:txBody>
      </p:sp>
      <p:sp>
        <p:nvSpPr>
          <p:cNvPr id="141" name="TextBox 140">
            <a:extLst>
              <a:ext uri="{FF2B5EF4-FFF2-40B4-BE49-F238E27FC236}">
                <a16:creationId xmlns:a16="http://schemas.microsoft.com/office/drawing/2014/main" id="{AD812C73-8B96-A936-5918-AFE6A7D9FEFE}"/>
              </a:ext>
            </a:extLst>
          </p:cNvPr>
          <p:cNvSpPr txBox="1"/>
          <p:nvPr/>
        </p:nvSpPr>
        <p:spPr>
          <a:xfrm>
            <a:off x="5875495" y="5003451"/>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142" name="Rectangle: Rounded Corners 141">
            <a:extLst>
              <a:ext uri="{FF2B5EF4-FFF2-40B4-BE49-F238E27FC236}">
                <a16:creationId xmlns:a16="http://schemas.microsoft.com/office/drawing/2014/main" id="{E19EF69A-2C1B-0F17-6FE6-1170CF584395}"/>
              </a:ext>
            </a:extLst>
          </p:cNvPr>
          <p:cNvSpPr/>
          <p:nvPr/>
        </p:nvSpPr>
        <p:spPr>
          <a:xfrm>
            <a:off x="7803816" y="4548827"/>
            <a:ext cx="2136072" cy="1005185"/>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43" name="TextBox 142">
            <a:extLst>
              <a:ext uri="{FF2B5EF4-FFF2-40B4-BE49-F238E27FC236}">
                <a16:creationId xmlns:a16="http://schemas.microsoft.com/office/drawing/2014/main" id="{202AC14E-CC56-4ECB-AD4C-594E9D44D263}"/>
              </a:ext>
            </a:extLst>
          </p:cNvPr>
          <p:cNvSpPr txBox="1"/>
          <p:nvPr/>
        </p:nvSpPr>
        <p:spPr>
          <a:xfrm>
            <a:off x="7853214" y="4598956"/>
            <a:ext cx="15953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Corporate</a:t>
            </a:r>
          </a:p>
        </p:txBody>
      </p:sp>
      <p:sp>
        <p:nvSpPr>
          <p:cNvPr id="144" name="Rectangle: Rounded Corners 143">
            <a:extLst>
              <a:ext uri="{FF2B5EF4-FFF2-40B4-BE49-F238E27FC236}">
                <a16:creationId xmlns:a16="http://schemas.microsoft.com/office/drawing/2014/main" id="{1CC8CFC5-6560-6B75-3816-2EFF909E5436}"/>
              </a:ext>
            </a:extLst>
          </p:cNvPr>
          <p:cNvSpPr/>
          <p:nvPr/>
        </p:nvSpPr>
        <p:spPr>
          <a:xfrm>
            <a:off x="7965231" y="4937787"/>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45" name="TextBox 144">
            <a:extLst>
              <a:ext uri="{FF2B5EF4-FFF2-40B4-BE49-F238E27FC236}">
                <a16:creationId xmlns:a16="http://schemas.microsoft.com/office/drawing/2014/main" id="{939ADEBA-8299-4FF5-E87C-9095441CCFD4}"/>
              </a:ext>
            </a:extLst>
          </p:cNvPr>
          <p:cNvSpPr txBox="1"/>
          <p:nvPr/>
        </p:nvSpPr>
        <p:spPr>
          <a:xfrm>
            <a:off x="8096106" y="4992893"/>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146" name="Rectangle: Rounded Corners 145">
            <a:extLst>
              <a:ext uri="{FF2B5EF4-FFF2-40B4-BE49-F238E27FC236}">
                <a16:creationId xmlns:a16="http://schemas.microsoft.com/office/drawing/2014/main" id="{38DF5A1D-EE4F-4080-47EE-ECDD7325A2C3}"/>
              </a:ext>
            </a:extLst>
          </p:cNvPr>
          <p:cNvSpPr/>
          <p:nvPr/>
        </p:nvSpPr>
        <p:spPr>
          <a:xfrm>
            <a:off x="10021174" y="4530740"/>
            <a:ext cx="2136072" cy="1020468"/>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47" name="TextBox 146">
            <a:extLst>
              <a:ext uri="{FF2B5EF4-FFF2-40B4-BE49-F238E27FC236}">
                <a16:creationId xmlns:a16="http://schemas.microsoft.com/office/drawing/2014/main" id="{F7991645-4A90-A30C-01AB-718B30C74180}"/>
              </a:ext>
            </a:extLst>
          </p:cNvPr>
          <p:cNvSpPr txBox="1"/>
          <p:nvPr/>
        </p:nvSpPr>
        <p:spPr>
          <a:xfrm>
            <a:off x="10070572" y="4580869"/>
            <a:ext cx="179509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Regulatory</a:t>
            </a:r>
          </a:p>
        </p:txBody>
      </p:sp>
      <p:sp>
        <p:nvSpPr>
          <p:cNvPr id="148" name="Rectangle: Rounded Corners 147">
            <a:extLst>
              <a:ext uri="{FF2B5EF4-FFF2-40B4-BE49-F238E27FC236}">
                <a16:creationId xmlns:a16="http://schemas.microsoft.com/office/drawing/2014/main" id="{0FE9E2A4-FAB9-D332-43A9-A22555DEC52B}"/>
              </a:ext>
            </a:extLst>
          </p:cNvPr>
          <p:cNvSpPr/>
          <p:nvPr/>
        </p:nvSpPr>
        <p:spPr>
          <a:xfrm>
            <a:off x="10166098" y="4966432"/>
            <a:ext cx="1795098" cy="395909"/>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49" name="TextBox 148">
            <a:extLst>
              <a:ext uri="{FF2B5EF4-FFF2-40B4-BE49-F238E27FC236}">
                <a16:creationId xmlns:a16="http://schemas.microsoft.com/office/drawing/2014/main" id="{674B6DCC-9BC1-B392-57D2-5CFFAC4B51E1}"/>
              </a:ext>
            </a:extLst>
          </p:cNvPr>
          <p:cNvSpPr txBox="1"/>
          <p:nvPr/>
        </p:nvSpPr>
        <p:spPr>
          <a:xfrm>
            <a:off x="10296973" y="5021538"/>
            <a:ext cx="1457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150" name="Rectangle: Rounded Corners 149">
            <a:extLst>
              <a:ext uri="{FF2B5EF4-FFF2-40B4-BE49-F238E27FC236}">
                <a16:creationId xmlns:a16="http://schemas.microsoft.com/office/drawing/2014/main" id="{D05F5C26-EC93-CEE1-CE2F-7EA47A9C3A61}"/>
              </a:ext>
            </a:extLst>
          </p:cNvPr>
          <p:cNvSpPr/>
          <p:nvPr/>
        </p:nvSpPr>
        <p:spPr>
          <a:xfrm>
            <a:off x="5758787" y="2752130"/>
            <a:ext cx="1795098" cy="392834"/>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51" name="TextBox 150">
            <a:extLst>
              <a:ext uri="{FF2B5EF4-FFF2-40B4-BE49-F238E27FC236}">
                <a16:creationId xmlns:a16="http://schemas.microsoft.com/office/drawing/2014/main" id="{D27027F8-2944-4FFC-E7A5-A1BED7FAAF6D}"/>
              </a:ext>
            </a:extLst>
          </p:cNvPr>
          <p:cNvSpPr txBox="1"/>
          <p:nvPr/>
        </p:nvSpPr>
        <p:spPr>
          <a:xfrm>
            <a:off x="5908007" y="2843702"/>
            <a:ext cx="15178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Tree>
    <p:extLst>
      <p:ext uri="{BB962C8B-B14F-4D97-AF65-F5344CB8AC3E}">
        <p14:creationId xmlns:p14="http://schemas.microsoft.com/office/powerpoint/2010/main" val="2056358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5D51C0-3F79-8378-EC46-846897729C6A}"/>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1754B9BE-07B4-3C56-E39D-1E8F379CF455}"/>
              </a:ext>
            </a:extLst>
          </p:cNvPr>
          <p:cNvSpPr txBox="1">
            <a:spLocks/>
          </p:cNvSpPr>
          <p:nvPr/>
        </p:nvSpPr>
        <p:spPr>
          <a:xfrm>
            <a:off x="557617" y="834242"/>
            <a:ext cx="5767614" cy="615553"/>
          </a:xfrm>
          <a:prstGeom prst="rect">
            <a:avLst/>
          </a:prstGeom>
        </p:spPr>
        <p:txBody>
          <a:bodyPr/>
          <a:lstStyle>
            <a:lvl1pPr algn="l" defTabSz="373183" rtl="0" eaLnBrk="1" latinLnBrk="0" hangingPunct="1">
              <a:lnSpc>
                <a:spcPct val="100000"/>
              </a:lnSpc>
              <a:spcBef>
                <a:spcPct val="0"/>
              </a:spcBef>
              <a:buNone/>
              <a:defRPr lang="en-US" sz="3200" b="0" kern="1200" cap="none" spc="-21" baseline="0" dirty="0">
                <a:ln w="3175">
                  <a:noFill/>
                </a:ln>
                <a:gradFill>
                  <a:gsLst>
                    <a:gs pos="100000">
                      <a:srgbClr val="0078D4"/>
                    </a:gs>
                    <a:gs pos="0">
                      <a:srgbClr val="2A446F"/>
                    </a:gs>
                  </a:gsLst>
                  <a:lin ang="2700000" scaled="0"/>
                </a:gra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21" normalizeH="0" baseline="0" noProof="0">
              <a:ln w="3175">
                <a:noFill/>
              </a:ln>
              <a:gradFill>
                <a:gsLst>
                  <a:gs pos="100000">
                    <a:srgbClr val="0078D4"/>
                  </a:gs>
                  <a:gs pos="0">
                    <a:srgbClr val="2A446F"/>
                  </a:gs>
                </a:gsLst>
                <a:lin ang="2700000" scaled="0"/>
              </a:gradFill>
              <a:effectLst/>
              <a:uLnTx/>
              <a:uFillTx/>
              <a:latin typeface="Segoe UI Semibold"/>
              <a:ea typeface="+mn-ea"/>
              <a:cs typeface="Segoe UI" pitchFamily="34" charset="0"/>
            </a:endParaRPr>
          </a:p>
        </p:txBody>
      </p:sp>
      <p:sp>
        <p:nvSpPr>
          <p:cNvPr id="3" name="Title 2">
            <a:extLst>
              <a:ext uri="{FF2B5EF4-FFF2-40B4-BE49-F238E27FC236}">
                <a16:creationId xmlns:a16="http://schemas.microsoft.com/office/drawing/2014/main" id="{786D188D-D11F-3C80-2BA9-7BF733D87153}"/>
              </a:ext>
            </a:extLst>
          </p:cNvPr>
          <p:cNvSpPr txBox="1">
            <a:spLocks/>
          </p:cNvSpPr>
          <p:nvPr/>
        </p:nvSpPr>
        <p:spPr>
          <a:xfrm>
            <a:off x="600149" y="3075939"/>
            <a:ext cx="5767614" cy="615553"/>
          </a:xfrm>
          <a:prstGeom prst="rect">
            <a:avLst/>
          </a:prstGeom>
        </p:spPr>
        <p:txBody>
          <a:bodyPr/>
          <a:lstStyle>
            <a:lvl1pPr algn="l" defTabSz="373183" rtl="0" eaLnBrk="1" latinLnBrk="0" hangingPunct="1">
              <a:lnSpc>
                <a:spcPct val="100000"/>
              </a:lnSpc>
              <a:spcBef>
                <a:spcPct val="0"/>
              </a:spcBef>
              <a:buNone/>
              <a:defRPr lang="en-US" sz="3200" b="0" kern="1200" cap="none" spc="-21" baseline="0" dirty="0">
                <a:ln w="3175">
                  <a:noFill/>
                </a:ln>
                <a:gradFill>
                  <a:gsLst>
                    <a:gs pos="100000">
                      <a:srgbClr val="0078D4"/>
                    </a:gs>
                    <a:gs pos="0">
                      <a:srgbClr val="2A446F"/>
                    </a:gs>
                  </a:gsLst>
                  <a:lin ang="2700000" scaled="0"/>
                </a:gra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endParaRPr kumimoji="0" lang="en-GB" sz="3200" b="0" i="0" u="none" strike="noStrike" kern="1200" cap="none" spc="-21" normalizeH="0" baseline="0" noProof="0">
              <a:ln w="3175">
                <a:noFill/>
              </a:ln>
              <a:gradFill>
                <a:gsLst>
                  <a:gs pos="100000">
                    <a:srgbClr val="0078D4"/>
                  </a:gs>
                  <a:gs pos="0">
                    <a:srgbClr val="2A446F"/>
                  </a:gs>
                </a:gsLst>
                <a:lin ang="2700000" scaled="0"/>
              </a:gradFill>
              <a:effectLst/>
              <a:uLnTx/>
              <a:uFillTx/>
              <a:latin typeface="Segoe UI Semibold"/>
              <a:ea typeface="+mn-ea"/>
              <a:cs typeface="Segoe UI" pitchFamily="34" charset="0"/>
            </a:endParaRPr>
          </a:p>
        </p:txBody>
      </p:sp>
      <p:sp>
        <p:nvSpPr>
          <p:cNvPr id="4" name="Freeform 4">
            <a:extLst>
              <a:ext uri="{FF2B5EF4-FFF2-40B4-BE49-F238E27FC236}">
                <a16:creationId xmlns:a16="http://schemas.microsoft.com/office/drawing/2014/main" id="{1E27115F-36E1-04F0-A722-6ACC5CFFE74C}"/>
              </a:ext>
            </a:extLst>
          </p:cNvPr>
          <p:cNvSpPr/>
          <p:nvPr/>
        </p:nvSpPr>
        <p:spPr>
          <a:xfrm rot="20063086">
            <a:off x="-14909" y="2125954"/>
            <a:ext cx="10692435" cy="3771829"/>
          </a:xfrm>
          <a:custGeom>
            <a:avLst/>
            <a:gdLst/>
            <a:ahLst/>
            <a:cxnLst/>
            <a:rect l="l" t="t" r="r" b="b"/>
            <a:pathLst>
              <a:path w="8499212" h="3838811">
                <a:moveTo>
                  <a:pt x="0" y="0"/>
                </a:moveTo>
                <a:lnTo>
                  <a:pt x="8499212" y="0"/>
                </a:lnTo>
                <a:lnTo>
                  <a:pt x="8499212" y="3838810"/>
                </a:lnTo>
                <a:lnTo>
                  <a:pt x="0" y="383881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reeform 11">
            <a:extLst>
              <a:ext uri="{FF2B5EF4-FFF2-40B4-BE49-F238E27FC236}">
                <a16:creationId xmlns:a16="http://schemas.microsoft.com/office/drawing/2014/main" id="{A81428FF-5F52-4C27-7603-D88BDC895447}"/>
              </a:ext>
            </a:extLst>
          </p:cNvPr>
          <p:cNvSpPr/>
          <p:nvPr/>
        </p:nvSpPr>
        <p:spPr>
          <a:xfrm rot="6592923">
            <a:off x="9818328" y="45236"/>
            <a:ext cx="1271410" cy="1298792"/>
          </a:xfrm>
          <a:custGeom>
            <a:avLst/>
            <a:gdLst/>
            <a:ahLst/>
            <a:cxnLst/>
            <a:rect l="l" t="t" r="r" b="b"/>
            <a:pathLst>
              <a:path w="926619" h="926619">
                <a:moveTo>
                  <a:pt x="0" y="0"/>
                </a:moveTo>
                <a:lnTo>
                  <a:pt x="926618" y="0"/>
                </a:lnTo>
                <a:lnTo>
                  <a:pt x="926618" y="926619"/>
                </a:lnTo>
                <a:lnTo>
                  <a:pt x="0" y="92661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10">
            <a:extLst>
              <a:ext uri="{FF2B5EF4-FFF2-40B4-BE49-F238E27FC236}">
                <a16:creationId xmlns:a16="http://schemas.microsoft.com/office/drawing/2014/main" id="{863F366E-23C9-EC83-8A16-146932692154}"/>
              </a:ext>
            </a:extLst>
          </p:cNvPr>
          <p:cNvSpPr/>
          <p:nvPr/>
        </p:nvSpPr>
        <p:spPr>
          <a:xfrm rot="14760048">
            <a:off x="8865913" y="414771"/>
            <a:ext cx="1085559" cy="1650179"/>
          </a:xfrm>
          <a:custGeom>
            <a:avLst/>
            <a:gdLst/>
            <a:ahLst/>
            <a:cxnLst/>
            <a:rect l="l" t="t" r="r" b="b"/>
            <a:pathLst>
              <a:path w="609517" h="1108212">
                <a:moveTo>
                  <a:pt x="0" y="0"/>
                </a:moveTo>
                <a:lnTo>
                  <a:pt x="609517" y="0"/>
                </a:lnTo>
                <a:lnTo>
                  <a:pt x="609517" y="1108212"/>
                </a:lnTo>
                <a:lnTo>
                  <a:pt x="0" y="1108212"/>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9" name="Group 12">
            <a:extLst>
              <a:ext uri="{FF2B5EF4-FFF2-40B4-BE49-F238E27FC236}">
                <a16:creationId xmlns:a16="http://schemas.microsoft.com/office/drawing/2014/main" id="{54C094CD-2597-78C2-4D82-EDDFA3F79037}"/>
              </a:ext>
            </a:extLst>
          </p:cNvPr>
          <p:cNvGrpSpPr/>
          <p:nvPr/>
        </p:nvGrpSpPr>
        <p:grpSpPr>
          <a:xfrm>
            <a:off x="236484" y="2832683"/>
            <a:ext cx="362482" cy="362482"/>
            <a:chOff x="0" y="0"/>
            <a:chExt cx="812800" cy="812800"/>
          </a:xfrm>
        </p:grpSpPr>
        <p:sp>
          <p:nvSpPr>
            <p:cNvPr id="10" name="Freeform 13">
              <a:extLst>
                <a:ext uri="{FF2B5EF4-FFF2-40B4-BE49-F238E27FC236}">
                  <a16:creationId xmlns:a16="http://schemas.microsoft.com/office/drawing/2014/main" id="{17F7D24A-C5F8-9DC2-D649-E88C497F6834}"/>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1A7D3"/>
            </a:solidFill>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Segoe UI"/>
                  <a:ea typeface="+mn-ea"/>
                  <a:cs typeface="+mn-cs"/>
                </a:rPr>
                <a:t>1</a:t>
              </a:r>
            </a:p>
          </p:txBody>
        </p:sp>
        <p:sp>
          <p:nvSpPr>
            <p:cNvPr id="11" name="TextBox 14">
              <a:extLst>
                <a:ext uri="{FF2B5EF4-FFF2-40B4-BE49-F238E27FC236}">
                  <a16:creationId xmlns:a16="http://schemas.microsoft.com/office/drawing/2014/main" id="{0F4C61A0-C364-547F-6684-C7CA43652611}"/>
                </a:ext>
              </a:extLst>
            </p:cNvPr>
            <p:cNvSpPr txBox="1"/>
            <p:nvPr/>
          </p:nvSpPr>
          <p:spPr>
            <a:xfrm>
              <a:off x="76200" y="38100"/>
              <a:ext cx="660400" cy="698500"/>
            </a:xfrm>
            <a:prstGeom prst="rect">
              <a:avLst/>
            </a:prstGeom>
          </p:spPr>
          <p:txBody>
            <a:bodyPr lIns="47625" tIns="47625" rIns="47625" bIns="47625" rtlCol="0" anchor="ctr"/>
            <a:lstStyle/>
            <a:p>
              <a:pPr marL="0" marR="0" lvl="0" indent="0" algn="ctr" defTabSz="914400" rtl="0" eaLnBrk="1" fontAlgn="auto" latinLnBrk="0" hangingPunct="1">
                <a:lnSpc>
                  <a:spcPts val="1312"/>
                </a:lnSpc>
                <a:spcBef>
                  <a:spcPts val="0"/>
                </a:spcBef>
                <a:spcAft>
                  <a:spcPts val="0"/>
                </a:spcAft>
                <a:buClrTx/>
                <a:buSzTx/>
                <a:buFontTx/>
                <a:buNone/>
                <a:tabLst/>
                <a:defRPr/>
              </a:pPr>
              <a:endParaRPr kumimoji="0" sz="2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 name="Rectangle: Rounded Corners 12">
            <a:extLst>
              <a:ext uri="{FF2B5EF4-FFF2-40B4-BE49-F238E27FC236}">
                <a16:creationId xmlns:a16="http://schemas.microsoft.com/office/drawing/2014/main" id="{809D3F45-5165-0F59-BD85-0FA1A9003EF1}"/>
              </a:ext>
            </a:extLst>
          </p:cNvPr>
          <p:cNvSpPr/>
          <p:nvPr/>
        </p:nvSpPr>
        <p:spPr>
          <a:xfrm>
            <a:off x="772841" y="2258638"/>
            <a:ext cx="2584813" cy="1419997"/>
          </a:xfrm>
          <a:prstGeom prst="roundRect">
            <a:avLst>
              <a:gd name="adj" fmla="val 2766"/>
            </a:avLst>
          </a:prstGeom>
          <a:solidFill>
            <a:srgbClr val="FFFFFF"/>
          </a:solidFill>
          <a:ln w="19050" cap="flat" cmpd="sng" algn="ctr">
            <a:noFill/>
            <a:prstDash val="solid"/>
            <a:miter lim="800000"/>
          </a:ln>
          <a:effectLst>
            <a:outerShdw blurRad="492361" dist="38100" dir="13980000" sx="106000" sy="106000" algn="tl" rotWithShape="0">
              <a:srgbClr val="C0C0C0">
                <a:alpha val="40000"/>
              </a:srgbClr>
            </a:outerShdw>
          </a:effectLst>
        </p:spPr>
        <p:txBody>
          <a:bodyPr rtlCol="0" anchor="ctr"/>
          <a:lstStyle>
            <a:defPPr>
              <a:defRPr lang="en-US"/>
            </a:defPPr>
            <a:lvl1pPr marL="0" algn="l" defTabSz="914400" rtl="0" eaLnBrk="1" latinLnBrk="0" hangingPunct="1">
              <a:defRPr sz="1800" kern="1200">
                <a:solidFill>
                  <a:srgbClr val="225B61"/>
                </a:solidFill>
                <a:latin typeface="Segoe Sans Text Semilight"/>
              </a:defRPr>
            </a:lvl1pPr>
            <a:lvl2pPr marL="457200" algn="l" defTabSz="914400" rtl="0" eaLnBrk="1" latinLnBrk="0" hangingPunct="1">
              <a:defRPr sz="1800" kern="1200">
                <a:solidFill>
                  <a:srgbClr val="225B61"/>
                </a:solidFill>
                <a:latin typeface="Segoe Sans Text Semilight"/>
              </a:defRPr>
            </a:lvl2pPr>
            <a:lvl3pPr marL="914400" algn="l" defTabSz="914400" rtl="0" eaLnBrk="1" latinLnBrk="0" hangingPunct="1">
              <a:defRPr sz="1800" kern="1200">
                <a:solidFill>
                  <a:srgbClr val="225B61"/>
                </a:solidFill>
                <a:latin typeface="Segoe Sans Text Semilight"/>
              </a:defRPr>
            </a:lvl3pPr>
            <a:lvl4pPr marL="1371600" algn="l" defTabSz="914400" rtl="0" eaLnBrk="1" latinLnBrk="0" hangingPunct="1">
              <a:defRPr sz="1800" kern="1200">
                <a:solidFill>
                  <a:srgbClr val="225B61"/>
                </a:solidFill>
                <a:latin typeface="Segoe Sans Text Semilight"/>
              </a:defRPr>
            </a:lvl4pPr>
            <a:lvl5pPr marL="1828800" algn="l" defTabSz="914400" rtl="0" eaLnBrk="1" latinLnBrk="0" hangingPunct="1">
              <a:defRPr sz="1800" kern="1200">
                <a:solidFill>
                  <a:srgbClr val="225B61"/>
                </a:solidFill>
                <a:latin typeface="Segoe Sans Text Semilight"/>
              </a:defRPr>
            </a:lvl5pPr>
            <a:lvl6pPr marL="2286000" algn="l" defTabSz="914400" rtl="0" eaLnBrk="1" latinLnBrk="0" hangingPunct="1">
              <a:defRPr sz="1800" kern="1200">
                <a:solidFill>
                  <a:srgbClr val="225B61"/>
                </a:solidFill>
                <a:latin typeface="Segoe Sans Text Semilight"/>
              </a:defRPr>
            </a:lvl6pPr>
            <a:lvl7pPr marL="2743200" algn="l" defTabSz="914400" rtl="0" eaLnBrk="1" latinLnBrk="0" hangingPunct="1">
              <a:defRPr sz="1800" kern="1200">
                <a:solidFill>
                  <a:srgbClr val="225B61"/>
                </a:solidFill>
                <a:latin typeface="Segoe Sans Text Semilight"/>
              </a:defRPr>
            </a:lvl7pPr>
            <a:lvl8pPr marL="3200400" algn="l" defTabSz="914400" rtl="0" eaLnBrk="1" latinLnBrk="0" hangingPunct="1">
              <a:defRPr sz="1800" kern="1200">
                <a:solidFill>
                  <a:srgbClr val="225B61"/>
                </a:solidFill>
                <a:latin typeface="Segoe Sans Text Semilight"/>
              </a:defRPr>
            </a:lvl8pPr>
            <a:lvl9pPr marL="3657600" algn="l" defTabSz="914400" rtl="0" eaLnBrk="1" latinLnBrk="0" hangingPunct="1">
              <a:defRPr sz="1800" kern="1200">
                <a:solidFill>
                  <a:srgbClr val="225B61"/>
                </a:solidFill>
                <a:latin typeface="Segoe Sans Text Semilight"/>
              </a:defRPr>
            </a:lvl9p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400" b="1" i="0" u="none" strike="noStrike" kern="1200" cap="none" spc="0" normalizeH="0" baseline="0" noProof="0">
                <a:ln>
                  <a:noFill/>
                </a:ln>
                <a:solidFill>
                  <a:srgbClr val="161616"/>
                </a:solidFill>
                <a:effectLst/>
                <a:uLnTx/>
                <a:uFillTx/>
                <a:latin typeface="Segoe UI"/>
                <a:ea typeface="+mn-ea"/>
                <a:cs typeface="+mn-cs"/>
              </a:rPr>
              <a:t>Start Small – Existing teams/stewards</a:t>
            </a:r>
          </a:p>
          <a:p>
            <a:pPr marL="285750" marR="0" lvl="0" indent="-285750" algn="l" defTabSz="914400" rtl="0" eaLnBrk="1" fontAlgn="auto" latinLnBrk="0" hangingPunct="1">
              <a:lnSpc>
                <a:spcPct val="115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161616"/>
                </a:solidFill>
                <a:effectLst/>
                <a:uLnTx/>
                <a:uFillTx/>
                <a:latin typeface="Segoe UI"/>
                <a:ea typeface="+mn-ea"/>
                <a:cs typeface="+mn-cs"/>
              </a:rPr>
              <a:t>Assign data steward </a:t>
            </a:r>
          </a:p>
          <a:p>
            <a:pPr marL="285750" marR="0" lvl="0" indent="-285750" algn="l" defTabSz="914400" rtl="0" eaLnBrk="1" fontAlgn="auto" latinLnBrk="0" hangingPunct="1">
              <a:lnSpc>
                <a:spcPct val="115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161616"/>
                </a:solidFill>
                <a:effectLst/>
                <a:uLnTx/>
                <a:uFillTx/>
                <a:latin typeface="Segoe UI"/>
                <a:ea typeface="+mn-ea"/>
                <a:cs typeface="+mn-cs"/>
              </a:rPr>
              <a:t>Data Map &amp; Data Product</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8" name="Freeform 7">
            <a:extLst>
              <a:ext uri="{FF2B5EF4-FFF2-40B4-BE49-F238E27FC236}">
                <a16:creationId xmlns:a16="http://schemas.microsoft.com/office/drawing/2014/main" id="{E309322F-DAC2-2F3D-7E62-2320C5FAC04E}"/>
              </a:ext>
            </a:extLst>
          </p:cNvPr>
          <p:cNvSpPr/>
          <p:nvPr/>
        </p:nvSpPr>
        <p:spPr>
          <a:xfrm>
            <a:off x="1053737" y="3453925"/>
            <a:ext cx="341693" cy="723196"/>
          </a:xfrm>
          <a:custGeom>
            <a:avLst/>
            <a:gdLst/>
            <a:ahLst/>
            <a:cxnLst/>
            <a:rect l="l" t="t" r="r" b="b"/>
            <a:pathLst>
              <a:path w="226738" h="490245">
                <a:moveTo>
                  <a:pt x="0" y="0"/>
                </a:moveTo>
                <a:lnTo>
                  <a:pt x="226738" y="0"/>
                </a:lnTo>
                <a:lnTo>
                  <a:pt x="226738" y="490244"/>
                </a:lnTo>
                <a:lnTo>
                  <a:pt x="0" y="49024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7">
            <a:extLst>
              <a:ext uri="{FF2B5EF4-FFF2-40B4-BE49-F238E27FC236}">
                <a16:creationId xmlns:a16="http://schemas.microsoft.com/office/drawing/2014/main" id="{2594841B-EE6C-11B6-FB09-191E94692B97}"/>
              </a:ext>
            </a:extLst>
          </p:cNvPr>
          <p:cNvSpPr/>
          <p:nvPr/>
        </p:nvSpPr>
        <p:spPr>
          <a:xfrm>
            <a:off x="4988045" y="5280685"/>
            <a:ext cx="341693" cy="723196"/>
          </a:xfrm>
          <a:custGeom>
            <a:avLst/>
            <a:gdLst/>
            <a:ahLst/>
            <a:cxnLst/>
            <a:rect l="l" t="t" r="r" b="b"/>
            <a:pathLst>
              <a:path w="226738" h="490245">
                <a:moveTo>
                  <a:pt x="0" y="0"/>
                </a:moveTo>
                <a:lnTo>
                  <a:pt x="226738" y="0"/>
                </a:lnTo>
                <a:lnTo>
                  <a:pt x="226738" y="490244"/>
                </a:lnTo>
                <a:lnTo>
                  <a:pt x="0" y="49024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Text Placeholder 16">
            <a:extLst>
              <a:ext uri="{FF2B5EF4-FFF2-40B4-BE49-F238E27FC236}">
                <a16:creationId xmlns:a16="http://schemas.microsoft.com/office/drawing/2014/main" id="{ADA6849D-7912-D740-57B0-8E9140A95401}"/>
              </a:ext>
            </a:extLst>
          </p:cNvPr>
          <p:cNvSpPr txBox="1">
            <a:spLocks/>
          </p:cNvSpPr>
          <p:nvPr/>
        </p:nvSpPr>
        <p:spPr>
          <a:xfrm>
            <a:off x="270467" y="117761"/>
            <a:ext cx="11064240" cy="72453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373183" rtl="0" eaLnBrk="1" fontAlgn="auto" latinLnBrk="0" hangingPunct="1">
              <a:lnSpc>
                <a:spcPct val="100000"/>
              </a:lnSpc>
              <a:spcBef>
                <a:spcPct val="0"/>
              </a:spcBef>
              <a:spcAft>
                <a:spcPts val="600"/>
              </a:spcAft>
              <a:buClrTx/>
              <a:buSzPct val="90000"/>
              <a:buFont typeface="Arial" panose="020B0604020202020204" pitchFamily="34" charset="0"/>
              <a:buNone/>
              <a:tabLst/>
              <a:defRPr/>
            </a:pPr>
            <a:r>
              <a:rPr kumimoji="0" lang="en-US" sz="3200" b="0" i="0" u="none" strike="noStrike" kern="1200" cap="none" spc="-21" normalizeH="0" baseline="0" noProof="0">
                <a:ln w="3175">
                  <a:noFill/>
                </a:ln>
                <a:gradFill>
                  <a:gsLst>
                    <a:gs pos="100000">
                      <a:srgbClr val="0078D4"/>
                    </a:gs>
                    <a:gs pos="0">
                      <a:srgbClr val="2A446F"/>
                    </a:gs>
                  </a:gsLst>
                  <a:lin ang="2700000" scaled="0"/>
                </a:gradFill>
                <a:effectLst/>
                <a:uLnTx/>
                <a:uFillTx/>
                <a:latin typeface="Segoe UI" panose="020B0502040204020203" pitchFamily="34" charset="0"/>
                <a:ea typeface="+mn-ea"/>
                <a:cs typeface="Segoe UI" panose="020B0502040204020203" pitchFamily="34" charset="0"/>
              </a:rPr>
              <a:t>Governance Domains Development Planning</a:t>
            </a:r>
          </a:p>
        </p:txBody>
      </p:sp>
      <p:grpSp>
        <p:nvGrpSpPr>
          <p:cNvPr id="16" name="Group 12">
            <a:extLst>
              <a:ext uri="{FF2B5EF4-FFF2-40B4-BE49-F238E27FC236}">
                <a16:creationId xmlns:a16="http://schemas.microsoft.com/office/drawing/2014/main" id="{3C29E636-F234-C9A2-D753-E0A7C4895D3C}"/>
              </a:ext>
            </a:extLst>
          </p:cNvPr>
          <p:cNvGrpSpPr/>
          <p:nvPr/>
        </p:nvGrpSpPr>
        <p:grpSpPr>
          <a:xfrm>
            <a:off x="5621346" y="5925135"/>
            <a:ext cx="362482" cy="362482"/>
            <a:chOff x="-1" y="1"/>
            <a:chExt cx="812800" cy="812800"/>
          </a:xfrm>
        </p:grpSpPr>
        <p:sp>
          <p:nvSpPr>
            <p:cNvPr id="17" name="Freeform 13">
              <a:extLst>
                <a:ext uri="{FF2B5EF4-FFF2-40B4-BE49-F238E27FC236}">
                  <a16:creationId xmlns:a16="http://schemas.microsoft.com/office/drawing/2014/main" id="{C44F3751-368E-FA84-7D48-1E0458A4FFB3}"/>
                </a:ext>
              </a:extLst>
            </p:cNvPr>
            <p:cNvSpPr/>
            <p:nvPr/>
          </p:nvSpPr>
          <p:spPr>
            <a:xfrm>
              <a:off x="-1" y="1"/>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1A7D3"/>
            </a:solidFill>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Segoe UI"/>
                  <a:ea typeface="+mn-ea"/>
                  <a:cs typeface="+mn-cs"/>
                </a:rPr>
                <a:t>2</a:t>
              </a:r>
            </a:p>
          </p:txBody>
        </p:sp>
        <p:sp>
          <p:nvSpPr>
            <p:cNvPr id="18" name="TextBox 14">
              <a:extLst>
                <a:ext uri="{FF2B5EF4-FFF2-40B4-BE49-F238E27FC236}">
                  <a16:creationId xmlns:a16="http://schemas.microsoft.com/office/drawing/2014/main" id="{BC3800DF-FDCB-75D4-FB62-1BAF1D16D702}"/>
                </a:ext>
              </a:extLst>
            </p:cNvPr>
            <p:cNvSpPr txBox="1"/>
            <p:nvPr/>
          </p:nvSpPr>
          <p:spPr>
            <a:xfrm>
              <a:off x="76200" y="38100"/>
              <a:ext cx="660400" cy="698500"/>
            </a:xfrm>
            <a:prstGeom prst="rect">
              <a:avLst/>
            </a:prstGeom>
          </p:spPr>
          <p:txBody>
            <a:bodyPr lIns="47625" tIns="47625" rIns="47625" bIns="47625" rtlCol="0" anchor="ctr"/>
            <a:lstStyle/>
            <a:p>
              <a:pPr marL="0" marR="0" lvl="0" indent="0" algn="ctr" defTabSz="914400" rtl="0" eaLnBrk="1" fontAlgn="auto" latinLnBrk="0" hangingPunct="1">
                <a:lnSpc>
                  <a:spcPts val="1312"/>
                </a:lnSpc>
                <a:spcBef>
                  <a:spcPts val="0"/>
                </a:spcBef>
                <a:spcAft>
                  <a:spcPts val="0"/>
                </a:spcAft>
                <a:buClrTx/>
                <a:buSzTx/>
                <a:buFontTx/>
                <a:buNone/>
                <a:tabLst/>
                <a:defRPr/>
              </a:pPr>
              <a:endParaRPr kumimoji="0" sz="2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9" name="Rectangle: Rounded Corners 18">
            <a:extLst>
              <a:ext uri="{FF2B5EF4-FFF2-40B4-BE49-F238E27FC236}">
                <a16:creationId xmlns:a16="http://schemas.microsoft.com/office/drawing/2014/main" id="{5C401D62-2AE7-C762-B6E1-8FEF250EFDC4}"/>
              </a:ext>
            </a:extLst>
          </p:cNvPr>
          <p:cNvSpPr/>
          <p:nvPr/>
        </p:nvSpPr>
        <p:spPr>
          <a:xfrm>
            <a:off x="6096000" y="5232127"/>
            <a:ext cx="2584813" cy="1419997"/>
          </a:xfrm>
          <a:prstGeom prst="roundRect">
            <a:avLst>
              <a:gd name="adj" fmla="val 2766"/>
            </a:avLst>
          </a:prstGeom>
          <a:solidFill>
            <a:srgbClr val="FFFFFF"/>
          </a:solidFill>
          <a:ln w="19050" cap="flat" cmpd="sng" algn="ctr">
            <a:noFill/>
            <a:prstDash val="solid"/>
            <a:miter lim="800000"/>
          </a:ln>
          <a:effectLst>
            <a:outerShdw blurRad="492361" dist="38100" dir="13980000" sx="106000" sy="106000" algn="tl" rotWithShape="0">
              <a:srgbClr val="C0C0C0">
                <a:alpha val="40000"/>
              </a:srgbClr>
            </a:outerShdw>
          </a:effectLst>
        </p:spPr>
        <p:txBody>
          <a:bodyPr rtlCol="0" anchor="ctr"/>
          <a:lstStyle>
            <a:defPPr>
              <a:defRPr lang="en-US"/>
            </a:defPPr>
            <a:lvl1pPr marL="0" algn="l" defTabSz="914400" rtl="0" eaLnBrk="1" latinLnBrk="0" hangingPunct="1">
              <a:defRPr sz="1800" kern="1200">
                <a:solidFill>
                  <a:srgbClr val="225B61"/>
                </a:solidFill>
                <a:latin typeface="Segoe Sans Text Semilight"/>
              </a:defRPr>
            </a:lvl1pPr>
            <a:lvl2pPr marL="457200" algn="l" defTabSz="914400" rtl="0" eaLnBrk="1" latinLnBrk="0" hangingPunct="1">
              <a:defRPr sz="1800" kern="1200">
                <a:solidFill>
                  <a:srgbClr val="225B61"/>
                </a:solidFill>
                <a:latin typeface="Segoe Sans Text Semilight"/>
              </a:defRPr>
            </a:lvl2pPr>
            <a:lvl3pPr marL="914400" algn="l" defTabSz="914400" rtl="0" eaLnBrk="1" latinLnBrk="0" hangingPunct="1">
              <a:defRPr sz="1800" kern="1200">
                <a:solidFill>
                  <a:srgbClr val="225B61"/>
                </a:solidFill>
                <a:latin typeface="Segoe Sans Text Semilight"/>
              </a:defRPr>
            </a:lvl3pPr>
            <a:lvl4pPr marL="1371600" algn="l" defTabSz="914400" rtl="0" eaLnBrk="1" latinLnBrk="0" hangingPunct="1">
              <a:defRPr sz="1800" kern="1200">
                <a:solidFill>
                  <a:srgbClr val="225B61"/>
                </a:solidFill>
                <a:latin typeface="Segoe Sans Text Semilight"/>
              </a:defRPr>
            </a:lvl4pPr>
            <a:lvl5pPr marL="1828800" algn="l" defTabSz="914400" rtl="0" eaLnBrk="1" latinLnBrk="0" hangingPunct="1">
              <a:defRPr sz="1800" kern="1200">
                <a:solidFill>
                  <a:srgbClr val="225B61"/>
                </a:solidFill>
                <a:latin typeface="Segoe Sans Text Semilight"/>
              </a:defRPr>
            </a:lvl5pPr>
            <a:lvl6pPr marL="2286000" algn="l" defTabSz="914400" rtl="0" eaLnBrk="1" latinLnBrk="0" hangingPunct="1">
              <a:defRPr sz="1800" kern="1200">
                <a:solidFill>
                  <a:srgbClr val="225B61"/>
                </a:solidFill>
                <a:latin typeface="Segoe Sans Text Semilight"/>
              </a:defRPr>
            </a:lvl6pPr>
            <a:lvl7pPr marL="2743200" algn="l" defTabSz="914400" rtl="0" eaLnBrk="1" latinLnBrk="0" hangingPunct="1">
              <a:defRPr sz="1800" kern="1200">
                <a:solidFill>
                  <a:srgbClr val="225B61"/>
                </a:solidFill>
                <a:latin typeface="Segoe Sans Text Semilight"/>
              </a:defRPr>
            </a:lvl7pPr>
            <a:lvl8pPr marL="3200400" algn="l" defTabSz="914400" rtl="0" eaLnBrk="1" latinLnBrk="0" hangingPunct="1">
              <a:defRPr sz="1800" kern="1200">
                <a:solidFill>
                  <a:srgbClr val="225B61"/>
                </a:solidFill>
                <a:latin typeface="Segoe Sans Text Semilight"/>
              </a:defRPr>
            </a:lvl8pPr>
            <a:lvl9pPr marL="3657600" algn="l" defTabSz="914400" rtl="0" eaLnBrk="1" latinLnBrk="0" hangingPunct="1">
              <a:defRPr sz="1800" kern="1200">
                <a:solidFill>
                  <a:srgbClr val="225B61"/>
                </a:solidFill>
                <a:latin typeface="Segoe Sans Text Semilight"/>
              </a:defRPr>
            </a:lvl9p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400" b="1" i="0" u="none" strike="noStrike" kern="1200" cap="none" spc="0" normalizeH="0" baseline="0" noProof="0">
                <a:ln>
                  <a:noFill/>
                </a:ln>
                <a:solidFill>
                  <a:srgbClr val="161616"/>
                </a:solidFill>
                <a:effectLst/>
                <a:uLnTx/>
                <a:uFillTx/>
                <a:latin typeface="Segoe UI"/>
                <a:ea typeface="+mn-ea"/>
                <a:cs typeface="+mn-cs"/>
              </a:rPr>
              <a:t>Publish Governance Domain</a:t>
            </a:r>
          </a:p>
          <a:p>
            <a:pPr marL="285750" marR="0" lvl="0" indent="-285750" algn="l" defTabSz="914400" rtl="0" eaLnBrk="1" fontAlgn="auto" latinLnBrk="0" hangingPunct="1">
              <a:lnSpc>
                <a:spcPct val="115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161616"/>
                </a:solidFill>
                <a:effectLst/>
                <a:uLnTx/>
                <a:uFillTx/>
                <a:latin typeface="Segoe UI"/>
                <a:ea typeface="+mn-ea"/>
                <a:cs typeface="+mn-cs"/>
              </a:rPr>
              <a:t>Identify a small number of users</a:t>
            </a:r>
          </a:p>
          <a:p>
            <a:pPr marL="285750" marR="0" lvl="0" indent="-285750" algn="l" defTabSz="914400" rtl="0" eaLnBrk="1" fontAlgn="auto" latinLnBrk="0" hangingPunct="1">
              <a:lnSpc>
                <a:spcPct val="115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161616"/>
                </a:solidFill>
                <a:effectLst/>
                <a:uLnTx/>
                <a:uFillTx/>
                <a:latin typeface="Segoe UI"/>
                <a:ea typeface="+mn-ea"/>
                <a:cs typeface="+mn-cs"/>
              </a:rPr>
              <a:t>Grand Reader permissions on Unified Catalog </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ptos" panose="02110004020202020204"/>
              <a:ea typeface="+mn-ea"/>
              <a:cs typeface="+mn-cs"/>
            </a:endParaRPr>
          </a:p>
        </p:txBody>
      </p:sp>
      <p:grpSp>
        <p:nvGrpSpPr>
          <p:cNvPr id="21" name="Group 12">
            <a:extLst>
              <a:ext uri="{FF2B5EF4-FFF2-40B4-BE49-F238E27FC236}">
                <a16:creationId xmlns:a16="http://schemas.microsoft.com/office/drawing/2014/main" id="{CD9D77CC-25EA-5F37-FCF9-EA273FAE7C1D}"/>
              </a:ext>
            </a:extLst>
          </p:cNvPr>
          <p:cNvGrpSpPr/>
          <p:nvPr/>
        </p:nvGrpSpPr>
        <p:grpSpPr>
          <a:xfrm>
            <a:off x="3883444" y="1268554"/>
            <a:ext cx="362482" cy="362482"/>
            <a:chOff x="-1" y="1"/>
            <a:chExt cx="812800" cy="812800"/>
          </a:xfrm>
        </p:grpSpPr>
        <p:sp>
          <p:nvSpPr>
            <p:cNvPr id="22" name="Freeform 13">
              <a:extLst>
                <a:ext uri="{FF2B5EF4-FFF2-40B4-BE49-F238E27FC236}">
                  <a16:creationId xmlns:a16="http://schemas.microsoft.com/office/drawing/2014/main" id="{F4A46BAD-4F52-27D4-83D4-9FDABE2D4C35}"/>
                </a:ext>
              </a:extLst>
            </p:cNvPr>
            <p:cNvSpPr/>
            <p:nvPr/>
          </p:nvSpPr>
          <p:spPr>
            <a:xfrm>
              <a:off x="-1" y="1"/>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1A7D3"/>
            </a:solidFill>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Segoe UI"/>
                  <a:ea typeface="+mn-ea"/>
                  <a:cs typeface="+mn-cs"/>
                </a:rPr>
                <a:t>3</a:t>
              </a:r>
            </a:p>
          </p:txBody>
        </p:sp>
        <p:sp>
          <p:nvSpPr>
            <p:cNvPr id="23" name="TextBox 14">
              <a:extLst>
                <a:ext uri="{FF2B5EF4-FFF2-40B4-BE49-F238E27FC236}">
                  <a16:creationId xmlns:a16="http://schemas.microsoft.com/office/drawing/2014/main" id="{22A7F13F-80A4-BF0F-F183-7023A20B5FDB}"/>
                </a:ext>
              </a:extLst>
            </p:cNvPr>
            <p:cNvSpPr txBox="1"/>
            <p:nvPr/>
          </p:nvSpPr>
          <p:spPr>
            <a:xfrm>
              <a:off x="76200" y="38100"/>
              <a:ext cx="660400" cy="698500"/>
            </a:xfrm>
            <a:prstGeom prst="rect">
              <a:avLst/>
            </a:prstGeom>
          </p:spPr>
          <p:txBody>
            <a:bodyPr lIns="47625" tIns="47625" rIns="47625" bIns="47625" rtlCol="0" anchor="ctr"/>
            <a:lstStyle/>
            <a:p>
              <a:pPr marL="0" marR="0" lvl="0" indent="0" algn="ctr" defTabSz="914400" rtl="0" eaLnBrk="1" fontAlgn="auto" latinLnBrk="0" hangingPunct="1">
                <a:lnSpc>
                  <a:spcPts val="1312"/>
                </a:lnSpc>
                <a:spcBef>
                  <a:spcPts val="0"/>
                </a:spcBef>
                <a:spcAft>
                  <a:spcPts val="0"/>
                </a:spcAft>
                <a:buClrTx/>
                <a:buSzTx/>
                <a:buFontTx/>
                <a:buNone/>
                <a:tabLst/>
                <a:defRPr/>
              </a:pPr>
              <a:endParaRPr kumimoji="0" sz="2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4" name="Rectangle: Rounded Corners 23">
            <a:extLst>
              <a:ext uri="{FF2B5EF4-FFF2-40B4-BE49-F238E27FC236}">
                <a16:creationId xmlns:a16="http://schemas.microsoft.com/office/drawing/2014/main" id="{70A9E417-C807-AA0A-36D8-AE6299333049}"/>
              </a:ext>
            </a:extLst>
          </p:cNvPr>
          <p:cNvSpPr/>
          <p:nvPr/>
        </p:nvSpPr>
        <p:spPr>
          <a:xfrm>
            <a:off x="4533589" y="706481"/>
            <a:ext cx="2584813" cy="1419997"/>
          </a:xfrm>
          <a:prstGeom prst="roundRect">
            <a:avLst>
              <a:gd name="adj" fmla="val 2766"/>
            </a:avLst>
          </a:prstGeom>
          <a:solidFill>
            <a:srgbClr val="FFFFFF"/>
          </a:solidFill>
          <a:ln w="19050" cap="flat" cmpd="sng" algn="ctr">
            <a:noFill/>
            <a:prstDash val="solid"/>
            <a:miter lim="800000"/>
          </a:ln>
          <a:effectLst>
            <a:outerShdw blurRad="492361" dist="38100" dir="13980000" sx="106000" sy="106000" algn="tl" rotWithShape="0">
              <a:srgbClr val="C0C0C0">
                <a:alpha val="40000"/>
              </a:srgbClr>
            </a:outerShdw>
          </a:effectLst>
        </p:spPr>
        <p:txBody>
          <a:bodyPr rtlCol="0" anchor="ctr"/>
          <a:lstStyle>
            <a:defPPr>
              <a:defRPr lang="en-US"/>
            </a:defPPr>
            <a:lvl1pPr marL="0" algn="l" defTabSz="914400" rtl="0" eaLnBrk="1" latinLnBrk="0" hangingPunct="1">
              <a:defRPr sz="1800" kern="1200">
                <a:solidFill>
                  <a:srgbClr val="225B61"/>
                </a:solidFill>
                <a:latin typeface="Segoe Sans Text Semilight"/>
              </a:defRPr>
            </a:lvl1pPr>
            <a:lvl2pPr marL="457200" algn="l" defTabSz="914400" rtl="0" eaLnBrk="1" latinLnBrk="0" hangingPunct="1">
              <a:defRPr sz="1800" kern="1200">
                <a:solidFill>
                  <a:srgbClr val="225B61"/>
                </a:solidFill>
                <a:latin typeface="Segoe Sans Text Semilight"/>
              </a:defRPr>
            </a:lvl2pPr>
            <a:lvl3pPr marL="914400" algn="l" defTabSz="914400" rtl="0" eaLnBrk="1" latinLnBrk="0" hangingPunct="1">
              <a:defRPr sz="1800" kern="1200">
                <a:solidFill>
                  <a:srgbClr val="225B61"/>
                </a:solidFill>
                <a:latin typeface="Segoe Sans Text Semilight"/>
              </a:defRPr>
            </a:lvl3pPr>
            <a:lvl4pPr marL="1371600" algn="l" defTabSz="914400" rtl="0" eaLnBrk="1" latinLnBrk="0" hangingPunct="1">
              <a:defRPr sz="1800" kern="1200">
                <a:solidFill>
                  <a:srgbClr val="225B61"/>
                </a:solidFill>
                <a:latin typeface="Segoe Sans Text Semilight"/>
              </a:defRPr>
            </a:lvl4pPr>
            <a:lvl5pPr marL="1828800" algn="l" defTabSz="914400" rtl="0" eaLnBrk="1" latinLnBrk="0" hangingPunct="1">
              <a:defRPr sz="1800" kern="1200">
                <a:solidFill>
                  <a:srgbClr val="225B61"/>
                </a:solidFill>
                <a:latin typeface="Segoe Sans Text Semilight"/>
              </a:defRPr>
            </a:lvl5pPr>
            <a:lvl6pPr marL="2286000" algn="l" defTabSz="914400" rtl="0" eaLnBrk="1" latinLnBrk="0" hangingPunct="1">
              <a:defRPr sz="1800" kern="1200">
                <a:solidFill>
                  <a:srgbClr val="225B61"/>
                </a:solidFill>
                <a:latin typeface="Segoe Sans Text Semilight"/>
              </a:defRPr>
            </a:lvl6pPr>
            <a:lvl7pPr marL="2743200" algn="l" defTabSz="914400" rtl="0" eaLnBrk="1" latinLnBrk="0" hangingPunct="1">
              <a:defRPr sz="1800" kern="1200">
                <a:solidFill>
                  <a:srgbClr val="225B61"/>
                </a:solidFill>
                <a:latin typeface="Segoe Sans Text Semilight"/>
              </a:defRPr>
            </a:lvl7pPr>
            <a:lvl8pPr marL="3200400" algn="l" defTabSz="914400" rtl="0" eaLnBrk="1" latinLnBrk="0" hangingPunct="1">
              <a:defRPr sz="1800" kern="1200">
                <a:solidFill>
                  <a:srgbClr val="225B61"/>
                </a:solidFill>
                <a:latin typeface="Segoe Sans Text Semilight"/>
              </a:defRPr>
            </a:lvl8pPr>
            <a:lvl9pPr marL="3657600" algn="l" defTabSz="914400" rtl="0" eaLnBrk="1" latinLnBrk="0" hangingPunct="1">
              <a:defRPr sz="1800" kern="1200">
                <a:solidFill>
                  <a:srgbClr val="225B61"/>
                </a:solidFill>
                <a:latin typeface="Segoe Sans Text Semilight"/>
              </a:defRPr>
            </a:lvl9p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400" b="1" i="0" u="none" strike="noStrike" kern="1200" cap="none" spc="0" normalizeH="0" baseline="0" noProof="0">
                <a:ln>
                  <a:noFill/>
                </a:ln>
                <a:solidFill>
                  <a:srgbClr val="161616"/>
                </a:solidFill>
                <a:effectLst/>
                <a:uLnTx/>
                <a:uFillTx/>
                <a:latin typeface="Segoe UI"/>
                <a:ea typeface="+mn-ea"/>
                <a:cs typeface="+mn-cs"/>
              </a:rPr>
              <a:t>Get Feedback</a:t>
            </a:r>
          </a:p>
          <a:p>
            <a:pPr marL="285750" marR="0" lvl="0" indent="-285750" algn="l" defTabSz="914400" rtl="0" eaLnBrk="1" fontAlgn="auto" latinLnBrk="0" hangingPunct="1">
              <a:lnSpc>
                <a:spcPct val="115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161616"/>
                </a:solidFill>
                <a:effectLst/>
                <a:uLnTx/>
                <a:uFillTx/>
                <a:latin typeface="Segoe UI"/>
                <a:ea typeface="+mn-ea"/>
                <a:cs typeface="+mn-cs"/>
              </a:rPr>
              <a:t>Add more sources </a:t>
            </a:r>
          </a:p>
          <a:p>
            <a:pPr marL="285750" marR="0" lvl="0" indent="-285750" algn="l" defTabSz="914400" rtl="0" eaLnBrk="1" fontAlgn="auto" latinLnBrk="0" hangingPunct="1">
              <a:lnSpc>
                <a:spcPct val="115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161616"/>
                </a:solidFill>
                <a:effectLst/>
                <a:uLnTx/>
                <a:uFillTx/>
                <a:latin typeface="Segoe UI"/>
                <a:ea typeface="+mn-ea"/>
                <a:cs typeface="+mn-cs"/>
              </a:rPr>
              <a:t>Add more Data Product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0" name="Freeform 7">
            <a:extLst>
              <a:ext uri="{FF2B5EF4-FFF2-40B4-BE49-F238E27FC236}">
                <a16:creationId xmlns:a16="http://schemas.microsoft.com/office/drawing/2014/main" id="{E5A95541-35F7-5F2A-8076-F28F01FAE432}"/>
              </a:ext>
            </a:extLst>
          </p:cNvPr>
          <p:cNvSpPr/>
          <p:nvPr/>
        </p:nvSpPr>
        <p:spPr>
          <a:xfrm>
            <a:off x="4691862" y="2126478"/>
            <a:ext cx="341693" cy="723196"/>
          </a:xfrm>
          <a:custGeom>
            <a:avLst/>
            <a:gdLst/>
            <a:ahLst/>
            <a:cxnLst/>
            <a:rect l="l" t="t" r="r" b="b"/>
            <a:pathLst>
              <a:path w="226738" h="490245">
                <a:moveTo>
                  <a:pt x="0" y="0"/>
                </a:moveTo>
                <a:lnTo>
                  <a:pt x="226738" y="0"/>
                </a:lnTo>
                <a:lnTo>
                  <a:pt x="226738" y="490244"/>
                </a:lnTo>
                <a:lnTo>
                  <a:pt x="0" y="49024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7">
            <a:extLst>
              <a:ext uri="{FF2B5EF4-FFF2-40B4-BE49-F238E27FC236}">
                <a16:creationId xmlns:a16="http://schemas.microsoft.com/office/drawing/2014/main" id="{DA4E4BE6-5D96-586A-8CEC-3AC01508EB8C}"/>
              </a:ext>
            </a:extLst>
          </p:cNvPr>
          <p:cNvSpPr/>
          <p:nvPr/>
        </p:nvSpPr>
        <p:spPr>
          <a:xfrm>
            <a:off x="8509966" y="2488076"/>
            <a:ext cx="341693" cy="723196"/>
          </a:xfrm>
          <a:custGeom>
            <a:avLst/>
            <a:gdLst/>
            <a:ahLst/>
            <a:cxnLst/>
            <a:rect l="l" t="t" r="r" b="b"/>
            <a:pathLst>
              <a:path w="226738" h="490245">
                <a:moveTo>
                  <a:pt x="0" y="0"/>
                </a:moveTo>
                <a:lnTo>
                  <a:pt x="226738" y="0"/>
                </a:lnTo>
                <a:lnTo>
                  <a:pt x="226738" y="490244"/>
                </a:lnTo>
                <a:lnTo>
                  <a:pt x="0" y="49024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6" name="Group 12">
            <a:extLst>
              <a:ext uri="{FF2B5EF4-FFF2-40B4-BE49-F238E27FC236}">
                <a16:creationId xmlns:a16="http://schemas.microsoft.com/office/drawing/2014/main" id="{3113089B-8DB3-2A67-A774-6B195D704FC3}"/>
              </a:ext>
            </a:extLst>
          </p:cNvPr>
          <p:cNvGrpSpPr/>
          <p:nvPr/>
        </p:nvGrpSpPr>
        <p:grpSpPr>
          <a:xfrm>
            <a:off x="9227451" y="2916712"/>
            <a:ext cx="362482" cy="362482"/>
            <a:chOff x="-1" y="1"/>
            <a:chExt cx="812800" cy="812800"/>
          </a:xfrm>
        </p:grpSpPr>
        <p:sp>
          <p:nvSpPr>
            <p:cNvPr id="27" name="Freeform 13">
              <a:extLst>
                <a:ext uri="{FF2B5EF4-FFF2-40B4-BE49-F238E27FC236}">
                  <a16:creationId xmlns:a16="http://schemas.microsoft.com/office/drawing/2014/main" id="{F6917F7D-D6BD-6D22-52E1-8B55E393FB23}"/>
                </a:ext>
              </a:extLst>
            </p:cNvPr>
            <p:cNvSpPr/>
            <p:nvPr/>
          </p:nvSpPr>
          <p:spPr>
            <a:xfrm>
              <a:off x="-1" y="1"/>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1A7D3"/>
            </a:solidFill>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Segoe UI"/>
                  <a:ea typeface="+mn-ea"/>
                  <a:cs typeface="+mn-cs"/>
                </a:rPr>
                <a:t>4</a:t>
              </a:r>
            </a:p>
          </p:txBody>
        </p:sp>
        <p:sp>
          <p:nvSpPr>
            <p:cNvPr id="28" name="TextBox 14">
              <a:extLst>
                <a:ext uri="{FF2B5EF4-FFF2-40B4-BE49-F238E27FC236}">
                  <a16:creationId xmlns:a16="http://schemas.microsoft.com/office/drawing/2014/main" id="{193306F8-B7E3-21DF-5BE9-DCB570F315F5}"/>
                </a:ext>
              </a:extLst>
            </p:cNvPr>
            <p:cNvSpPr txBox="1"/>
            <p:nvPr/>
          </p:nvSpPr>
          <p:spPr>
            <a:xfrm>
              <a:off x="76200" y="38100"/>
              <a:ext cx="660400" cy="698500"/>
            </a:xfrm>
            <a:prstGeom prst="rect">
              <a:avLst/>
            </a:prstGeom>
          </p:spPr>
          <p:txBody>
            <a:bodyPr lIns="47625" tIns="47625" rIns="47625" bIns="47625" rtlCol="0" anchor="ctr"/>
            <a:lstStyle/>
            <a:p>
              <a:pPr marL="0" marR="0" lvl="0" indent="0" algn="ctr" defTabSz="914400" rtl="0" eaLnBrk="1" fontAlgn="auto" latinLnBrk="0" hangingPunct="1">
                <a:lnSpc>
                  <a:spcPts val="1312"/>
                </a:lnSpc>
                <a:spcBef>
                  <a:spcPts val="0"/>
                </a:spcBef>
                <a:spcAft>
                  <a:spcPts val="0"/>
                </a:spcAft>
                <a:buClrTx/>
                <a:buSzTx/>
                <a:buFontTx/>
                <a:buNone/>
                <a:tabLst/>
                <a:defRPr/>
              </a:pPr>
              <a:endParaRPr kumimoji="0" sz="2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 name="Rectangle: Rounded Corners 28">
            <a:extLst>
              <a:ext uri="{FF2B5EF4-FFF2-40B4-BE49-F238E27FC236}">
                <a16:creationId xmlns:a16="http://schemas.microsoft.com/office/drawing/2014/main" id="{CE990031-91DC-FF96-6E38-D42330112FCB}"/>
              </a:ext>
            </a:extLst>
          </p:cNvPr>
          <p:cNvSpPr/>
          <p:nvPr/>
        </p:nvSpPr>
        <p:spPr>
          <a:xfrm>
            <a:off x="9699867" y="2652333"/>
            <a:ext cx="1719292" cy="891239"/>
          </a:xfrm>
          <a:prstGeom prst="roundRect">
            <a:avLst>
              <a:gd name="adj" fmla="val 2766"/>
            </a:avLst>
          </a:prstGeom>
          <a:solidFill>
            <a:srgbClr val="FFFFFF"/>
          </a:solidFill>
          <a:ln w="19050" cap="flat" cmpd="sng" algn="ctr">
            <a:noFill/>
            <a:prstDash val="solid"/>
            <a:miter lim="800000"/>
          </a:ln>
          <a:effectLst>
            <a:outerShdw blurRad="492361" dist="38100" dir="13980000" sx="106000" sy="106000" algn="tl" rotWithShape="0">
              <a:srgbClr val="C0C0C0">
                <a:alpha val="40000"/>
              </a:srgbClr>
            </a:outerShdw>
          </a:effectLst>
        </p:spPr>
        <p:txBody>
          <a:bodyPr rtlCol="0" anchor="ctr"/>
          <a:lstStyle>
            <a:defPPr>
              <a:defRPr lang="en-US"/>
            </a:defPPr>
            <a:lvl1pPr marL="0" algn="l" defTabSz="914400" rtl="0" eaLnBrk="1" latinLnBrk="0" hangingPunct="1">
              <a:defRPr sz="1800" kern="1200">
                <a:solidFill>
                  <a:srgbClr val="225B61"/>
                </a:solidFill>
                <a:latin typeface="Segoe Sans Text Semilight"/>
              </a:defRPr>
            </a:lvl1pPr>
            <a:lvl2pPr marL="457200" algn="l" defTabSz="914400" rtl="0" eaLnBrk="1" latinLnBrk="0" hangingPunct="1">
              <a:defRPr sz="1800" kern="1200">
                <a:solidFill>
                  <a:srgbClr val="225B61"/>
                </a:solidFill>
                <a:latin typeface="Segoe Sans Text Semilight"/>
              </a:defRPr>
            </a:lvl2pPr>
            <a:lvl3pPr marL="914400" algn="l" defTabSz="914400" rtl="0" eaLnBrk="1" latinLnBrk="0" hangingPunct="1">
              <a:defRPr sz="1800" kern="1200">
                <a:solidFill>
                  <a:srgbClr val="225B61"/>
                </a:solidFill>
                <a:latin typeface="Segoe Sans Text Semilight"/>
              </a:defRPr>
            </a:lvl3pPr>
            <a:lvl4pPr marL="1371600" algn="l" defTabSz="914400" rtl="0" eaLnBrk="1" latinLnBrk="0" hangingPunct="1">
              <a:defRPr sz="1800" kern="1200">
                <a:solidFill>
                  <a:srgbClr val="225B61"/>
                </a:solidFill>
                <a:latin typeface="Segoe Sans Text Semilight"/>
              </a:defRPr>
            </a:lvl4pPr>
            <a:lvl5pPr marL="1828800" algn="l" defTabSz="914400" rtl="0" eaLnBrk="1" latinLnBrk="0" hangingPunct="1">
              <a:defRPr sz="1800" kern="1200">
                <a:solidFill>
                  <a:srgbClr val="225B61"/>
                </a:solidFill>
                <a:latin typeface="Segoe Sans Text Semilight"/>
              </a:defRPr>
            </a:lvl5pPr>
            <a:lvl6pPr marL="2286000" algn="l" defTabSz="914400" rtl="0" eaLnBrk="1" latinLnBrk="0" hangingPunct="1">
              <a:defRPr sz="1800" kern="1200">
                <a:solidFill>
                  <a:srgbClr val="225B61"/>
                </a:solidFill>
                <a:latin typeface="Segoe Sans Text Semilight"/>
              </a:defRPr>
            </a:lvl6pPr>
            <a:lvl7pPr marL="2743200" algn="l" defTabSz="914400" rtl="0" eaLnBrk="1" latinLnBrk="0" hangingPunct="1">
              <a:defRPr sz="1800" kern="1200">
                <a:solidFill>
                  <a:srgbClr val="225B61"/>
                </a:solidFill>
                <a:latin typeface="Segoe Sans Text Semilight"/>
              </a:defRPr>
            </a:lvl7pPr>
            <a:lvl8pPr marL="3200400" algn="l" defTabSz="914400" rtl="0" eaLnBrk="1" latinLnBrk="0" hangingPunct="1">
              <a:defRPr sz="1800" kern="1200">
                <a:solidFill>
                  <a:srgbClr val="225B61"/>
                </a:solidFill>
                <a:latin typeface="Segoe Sans Text Semilight"/>
              </a:defRPr>
            </a:lvl8pPr>
            <a:lvl9pPr marL="3657600" algn="l" defTabSz="914400" rtl="0" eaLnBrk="1" latinLnBrk="0" hangingPunct="1">
              <a:defRPr sz="1800" kern="1200">
                <a:solidFill>
                  <a:srgbClr val="225B61"/>
                </a:solidFill>
                <a:latin typeface="Segoe Sans Text Semilight"/>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78D4"/>
                </a:solidFill>
                <a:effectLst/>
                <a:uLnTx/>
                <a:uFillTx/>
                <a:latin typeface="Aptos" panose="02110004020202020204"/>
                <a:ea typeface="+mn-ea"/>
                <a:cs typeface="+mn-cs"/>
              </a:rPr>
              <a:t>Democratize Data</a:t>
            </a:r>
          </a:p>
        </p:txBody>
      </p:sp>
      <p:pic>
        <p:nvPicPr>
          <p:cNvPr id="30" name="Picture 29">
            <a:extLst>
              <a:ext uri="{FF2B5EF4-FFF2-40B4-BE49-F238E27FC236}">
                <a16:creationId xmlns:a16="http://schemas.microsoft.com/office/drawing/2014/main" id="{E16A18FB-37B6-933E-8246-DA4F3F318EE5}"/>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110120" y="1824054"/>
            <a:ext cx="766264" cy="766264"/>
          </a:xfrm>
          <a:prstGeom prst="rect">
            <a:avLst/>
          </a:prstGeom>
          <a:noFill/>
        </p:spPr>
      </p:pic>
    </p:spTree>
    <p:extLst>
      <p:ext uri="{BB962C8B-B14F-4D97-AF65-F5344CB8AC3E}">
        <p14:creationId xmlns:p14="http://schemas.microsoft.com/office/powerpoint/2010/main" val="413107401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Microsoft Security Template_Basic">
  <a:themeElements>
    <a:clrScheme name="Security 2024 v3">
      <a:dk1>
        <a:srgbClr val="091F2C"/>
      </a:dk1>
      <a:lt1>
        <a:srgbClr val="FFFFFF"/>
      </a:lt1>
      <a:dk2>
        <a:srgbClr val="091F2C"/>
      </a:dk2>
      <a:lt2>
        <a:srgbClr val="F4F3F5"/>
      </a:lt2>
      <a:accent1>
        <a:srgbClr val="091F2C"/>
      </a:accent1>
      <a:accent2>
        <a:srgbClr val="0078D4"/>
      </a:accent2>
      <a:accent3>
        <a:srgbClr val="8DE971"/>
      </a:accent3>
      <a:accent4>
        <a:srgbClr val="FF5C39"/>
      </a:accent4>
      <a:accent5>
        <a:srgbClr val="F4364C"/>
      </a:accent5>
      <a:accent6>
        <a:srgbClr val="FFB900"/>
      </a:accent6>
      <a:hlink>
        <a:srgbClr val="091F2C"/>
      </a:hlink>
      <a:folHlink>
        <a:srgbClr val="091F2C"/>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Security PowerPoint template 2024 (Basic)" id="{43BA6A8A-A1FE-4700-92FD-D0160A70FF4B}" vid="{76695FB7-0829-42C8-891D-C2C9114FDCB1}"/>
    </a:ext>
  </a:extLst>
</a:theme>
</file>

<file path=ppt/theme/theme3.xml><?xml version="1.0" encoding="utf-8"?>
<a:theme xmlns:a="http://schemas.openxmlformats.org/drawingml/2006/main" name="1_Microsoft CSU Master 2023">
  <a:themeElements>
    <a:clrScheme name="Inspire">
      <a:dk1>
        <a:srgbClr val="000000"/>
      </a:dk1>
      <a:lt1>
        <a:srgbClr val="FFFFFF"/>
      </a:lt1>
      <a:dk2>
        <a:srgbClr val="225B62"/>
      </a:dk2>
      <a:lt2>
        <a:srgbClr val="E8E6DF"/>
      </a:lt2>
      <a:accent1>
        <a:srgbClr val="225B62"/>
      </a:accent1>
      <a:accent2>
        <a:srgbClr val="49C5B1"/>
      </a:accent2>
      <a:accent3>
        <a:srgbClr val="FFB900"/>
      </a:accent3>
      <a:accent4>
        <a:srgbClr val="8C8279"/>
      </a:accent4>
      <a:accent5>
        <a:srgbClr val="C03BC4"/>
      </a:accent5>
      <a:accent6>
        <a:srgbClr val="D7D2CB"/>
      </a:accent6>
      <a:hlink>
        <a:srgbClr val="C03BC4"/>
      </a:hlink>
      <a:folHlink>
        <a:srgbClr val="C03BC4"/>
      </a:folHlink>
    </a:clrScheme>
    <a:fontScheme name="Microsoft Envision">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Custom Color 1">
      <a:srgbClr val="C5B4E3"/>
    </a:custClr>
    <a:custClr name="Custom Color 2">
      <a:srgbClr val="49C5B1"/>
    </a:custClr>
    <a:custClr name="Custom Color 3">
      <a:srgbClr val="E1D3C7"/>
    </a:custClr>
    <a:custClr name="Custom Color 4">
      <a:srgbClr val="8DC8E8"/>
    </a:custClr>
    <a:custClr name="Custom Color 5">
      <a:srgbClr val="2A446F"/>
    </a:custClr>
    <a:custClr name="Custom Color 6">
      <a:srgbClr val="225B62"/>
    </a:custClr>
    <a:custClr name="Custom Color 7">
      <a:srgbClr val="C03BC4"/>
    </a:custClr>
    <a:custClr name="Custom Color 8">
      <a:srgbClr val="0078D4"/>
    </a:custClr>
    <a:custClr name="BLANK">
      <a:srgbClr val="FFFFFF"/>
    </a:custClr>
    <a:custClr name="BLANK">
      <a:srgbClr val="FFFFFF"/>
    </a:custClr>
    <a:custClr name="Custom Color 11">
      <a:srgbClr val="FFB3BB"/>
    </a:custClr>
    <a:custClr name="Custom Color 12">
      <a:srgbClr val="8DE971"/>
    </a:custClr>
    <a:custClr name="Custom Color 13">
      <a:srgbClr val="FFE399"/>
    </a:custClr>
    <a:custClr name="Custom Color 14">
      <a:srgbClr val="D59ED7"/>
    </a:custClr>
    <a:custClr name="Custom Color 15">
      <a:srgbClr val="C03BC4"/>
    </a:custClr>
    <a:custClr name="Custom Color 16">
      <a:srgbClr val="0078D4"/>
    </a:custClr>
    <a:custClr name="Custom Color 17">
      <a:srgbClr val="F4364C"/>
    </a:custClr>
    <a:custClr name="Inspire 23">
      <a:srgbClr val="C03BC4"/>
    </a:custClr>
  </a:custClrLst>
  <a:extLst>
    <a:ext uri="{05A4C25C-085E-4340-85A3-A5531E510DB2}">
      <thm15:themeFamily xmlns:thm15="http://schemas.microsoft.com/office/thememl/2012/main" name="Microsoft CSU - Template Deck v2.pptx" id="{81FECAA0-BA83-419A-B2E9-130F45310EBE}" vid="{43168C76-0EEF-4403-AEC8-1E805A8BA36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0</TotalTime>
  <Words>1092</Words>
  <Application>Microsoft Office PowerPoint</Application>
  <PresentationFormat>Widescreen</PresentationFormat>
  <Paragraphs>152</Paragraphs>
  <Slides>9</Slides>
  <Notes>8</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24" baseType="lpstr">
      <vt:lpstr>Aptos</vt:lpstr>
      <vt:lpstr>Aptos Display</vt:lpstr>
      <vt:lpstr>Arial</vt:lpstr>
      <vt:lpstr>Segoe Sans Display</vt:lpstr>
      <vt:lpstr>Segoe Sans Display Semibold</vt:lpstr>
      <vt:lpstr>Segoe Sans Text</vt:lpstr>
      <vt:lpstr>Segoe UI</vt:lpstr>
      <vt:lpstr>Segoe UI Light</vt:lpstr>
      <vt:lpstr>Segoe UI Semibold</vt:lpstr>
      <vt:lpstr>Segoe UI Semilight</vt:lpstr>
      <vt:lpstr>Wingdings</vt:lpstr>
      <vt:lpstr>Office Theme</vt:lpstr>
      <vt:lpstr>Microsoft Security Template_Basic</vt:lpstr>
      <vt:lpstr>1_Microsoft CSU Master 2023</vt:lpstr>
      <vt:lpstr>think-cell Slide</vt:lpstr>
      <vt:lpstr>PowerPoint Presentation</vt:lpstr>
      <vt:lpstr>Unified Catalog</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dinson Medina</dc:creator>
  <cp:lastModifiedBy>Edinson Medina</cp:lastModifiedBy>
  <cp:revision>1</cp:revision>
  <dcterms:created xsi:type="dcterms:W3CDTF">2025-05-15T08:15:50Z</dcterms:created>
  <dcterms:modified xsi:type="dcterms:W3CDTF">2025-05-15T08:16:16Z</dcterms:modified>
</cp:coreProperties>
</file>